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notesSlides/notesSlide1.xml" ContentType="application/vnd.openxmlformats-officedocument.presentationml.notesSlide+xml"/>
  <Override PartName="/ppt/tags/tag90.xml" ContentType="application/vnd.openxmlformats-officedocument.presentationml.tags+xml"/>
  <Override PartName="/ppt/notesSlides/notesSlide2.xml" ContentType="application/vnd.openxmlformats-officedocument.presentationml.notesSlide+xml"/>
  <Override PartName="/ppt/tags/tag91.xml" ContentType="application/vnd.openxmlformats-officedocument.presentationml.tags+xml"/>
  <Override PartName="/ppt/notesSlides/notesSlide3.xml" ContentType="application/vnd.openxmlformats-officedocument.presentationml.notesSlide+xml"/>
  <Override PartName="/ppt/tags/tag92.xml" ContentType="application/vnd.openxmlformats-officedocument.presentationml.tags+xml"/>
  <Override PartName="/ppt/notesSlides/notesSlide4.xml" ContentType="application/vnd.openxmlformats-officedocument.presentationml.notesSlide+xml"/>
  <Override PartName="/ppt/tags/tag93.xml" ContentType="application/vnd.openxmlformats-officedocument.presentationml.tags+xml"/>
  <Override PartName="/ppt/notesSlides/notesSlide5.xml" ContentType="application/vnd.openxmlformats-officedocument.presentationml.notesSlide+xml"/>
  <Override PartName="/ppt/tags/tag94.xml" ContentType="application/vnd.openxmlformats-officedocument.presentationml.tags+xml"/>
  <Override PartName="/ppt/notesSlides/notesSlide6.xml" ContentType="application/vnd.openxmlformats-officedocument.presentationml.notesSlide+xml"/>
  <Override PartName="/ppt/tags/tag95.xml" ContentType="application/vnd.openxmlformats-officedocument.presentationml.tags+xml"/>
  <Override PartName="/ppt/notesSlides/notesSlide7.xml" ContentType="application/vnd.openxmlformats-officedocument.presentationml.notesSlide+xml"/>
  <Override PartName="/ppt/tags/tag96.xml" ContentType="application/vnd.openxmlformats-officedocument.presentationml.tags+xml"/>
  <Override PartName="/ppt/notesSlides/notesSlide8.xml" ContentType="application/vnd.openxmlformats-officedocument.presentationml.notesSlide+xml"/>
  <Override PartName="/ppt/tags/tag97.xml" ContentType="application/vnd.openxmlformats-officedocument.presentationml.tags+xml"/>
  <Override PartName="/ppt/notesSlides/notesSlide9.xml" ContentType="application/vnd.openxmlformats-officedocument.presentationml.notesSlide+xml"/>
  <Override PartName="/ppt/tags/tag98.xml" ContentType="application/vnd.openxmlformats-officedocument.presentationml.tags+xml"/>
  <Override PartName="/ppt/notesSlides/notesSlide10.xml" ContentType="application/vnd.openxmlformats-officedocument.presentationml.notesSlide+xml"/>
  <Override PartName="/ppt/tags/tag99.xml" ContentType="application/vnd.openxmlformats-officedocument.presentationml.tags+xml"/>
  <Override PartName="/ppt/notesSlides/notesSlide11.xml" ContentType="application/vnd.openxmlformats-officedocument.presentationml.notesSlide+xml"/>
  <Override PartName="/ppt/tags/tag100.xml" ContentType="application/vnd.openxmlformats-officedocument.presentationml.tags+xml"/>
  <Override PartName="/ppt/notesSlides/notesSlide12.xml" ContentType="application/vnd.openxmlformats-officedocument.presentationml.notesSlide+xml"/>
  <Override PartName="/ppt/tags/tag101.xml" ContentType="application/vnd.openxmlformats-officedocument.presentationml.tags+xml"/>
  <Override PartName="/ppt/notesSlides/notesSlide13.xml" ContentType="application/vnd.openxmlformats-officedocument.presentationml.notesSlide+xml"/>
  <Override PartName="/ppt/tags/tag102.xml" ContentType="application/vnd.openxmlformats-officedocument.presentationml.tags+xml"/>
  <Override PartName="/ppt/notesSlides/notesSlide14.xml" ContentType="application/vnd.openxmlformats-officedocument.presentationml.notesSlide+xml"/>
  <Override PartName="/ppt/tags/tag103.xml" ContentType="application/vnd.openxmlformats-officedocument.presentationml.tags+xml"/>
  <Override PartName="/ppt/charts/chart62.xml" ContentType="application/vnd.openxmlformats-officedocument.drawingml.chart+xml"/>
  <Override PartName="/ppt/tags/tag104.xml" ContentType="application/vnd.openxmlformats-officedocument.presentationml.tags+xml"/>
  <Override PartName="/ppt/charts/chart63.xml" ContentType="application/vnd.openxmlformats-officedocument.drawingml.chart+xml"/>
  <Override PartName="/ppt/tags/tag105.xml" ContentType="application/vnd.openxmlformats-officedocument.presentationml.tags+xml"/>
  <Override PartName="/ppt/charts/chart64.xml" ContentType="application/vnd.openxmlformats-officedocument.drawingml.chart+xml"/>
  <Override PartName="/ppt/tags/tag106.xml" ContentType="application/vnd.openxmlformats-officedocument.presentationml.tags+xml"/>
  <Override PartName="/ppt/charts/chart65.xml" ContentType="application/vnd.openxmlformats-officedocument.drawingml.chart+xml"/>
  <Override PartName="/ppt/tags/tag107.xml" ContentType="application/vnd.openxmlformats-officedocument.presentationml.tags+xml"/>
  <Override PartName="/ppt/charts/chart66.xml" ContentType="application/vnd.openxmlformats-officedocument.drawingml.chart+xml"/>
  <Override PartName="/ppt/tags/tag108.xml" ContentType="application/vnd.openxmlformats-officedocument.presentationml.tags+xml"/>
  <Override PartName="/ppt/charts/chart67.xml" ContentType="application/vnd.openxmlformats-officedocument.drawingml.chart+xml"/>
  <Override PartName="/ppt/tags/tag109.xml" ContentType="application/vnd.openxmlformats-officedocument.presentationml.tags+xml"/>
  <Override PartName="/ppt/charts/chart68.xml" ContentType="application/vnd.openxmlformats-officedocument.drawingml.chart+xml"/>
  <Override PartName="/ppt/tags/tag110.xml" ContentType="application/vnd.openxmlformats-officedocument.presentationml.tags+xml"/>
  <Override PartName="/ppt/charts/chart69.xml" ContentType="application/vnd.openxmlformats-officedocument.drawingml.chart+xml"/>
  <Override PartName="/ppt/tags/tag111.xml" ContentType="application/vnd.openxmlformats-officedocument.presentationml.tags+xml"/>
  <Override PartName="/ppt/charts/chart70.xml" ContentType="application/vnd.openxmlformats-officedocument.drawingml.chart+xml"/>
  <Override PartName="/ppt/tags/tag112.xml" ContentType="application/vnd.openxmlformats-officedocument.presentationml.tags+xml"/>
  <Override PartName="/ppt/charts/chart71.xml" ContentType="application/vnd.openxmlformats-officedocument.drawingml.chart+xml"/>
  <Override PartName="/ppt/tags/tag113.xml" ContentType="application/vnd.openxmlformats-officedocument.presentationml.tags+xml"/>
  <Override PartName="/ppt/charts/chart72.xml" ContentType="application/vnd.openxmlformats-officedocument.drawingml.chart+xml"/>
  <Override PartName="/ppt/tags/tag114.xml" ContentType="application/vnd.openxmlformats-officedocument.presentationml.tags+xml"/>
  <Override PartName="/ppt/charts/chart73.xml" ContentType="application/vnd.openxmlformats-officedocument.drawingml.chart+xml"/>
  <Override PartName="/ppt/tags/tag115.xml" ContentType="application/vnd.openxmlformats-officedocument.presentationml.tags+xml"/>
  <Override PartName="/ppt/charts/chart74.xml" ContentType="application/vnd.openxmlformats-officedocument.drawingml.chart+xml"/>
  <Override PartName="/ppt/tags/tag116.xml" ContentType="application/vnd.openxmlformats-officedocument.presentationml.tags+xml"/>
  <Override PartName="/ppt/charts/chart75.xml" ContentType="application/vnd.openxmlformats-officedocument.drawingml.chart+xml"/>
  <Override PartName="/ppt/tags/tag117.xml" ContentType="application/vnd.openxmlformats-officedocument.presentationml.tags+xml"/>
  <Override PartName="/ppt/charts/chart76.xml" ContentType="application/vnd.openxmlformats-officedocument.drawingml.chart+xml"/>
  <Override PartName="/ppt/tags/tag118.xml" ContentType="application/vnd.openxmlformats-officedocument.presentationml.tags+xml"/>
  <Override PartName="/ppt/charts/chart77.xml" ContentType="application/vnd.openxmlformats-officedocument.drawingml.chart+xml"/>
  <Override PartName="/ppt/tags/tag119.xml" ContentType="application/vnd.openxmlformats-officedocument.presentationml.tags+xml"/>
  <Override PartName="/ppt/charts/chart78.xml" ContentType="application/vnd.openxmlformats-officedocument.drawingml.chart+xml"/>
  <Override PartName="/ppt/tags/tag120.xml" ContentType="application/vnd.openxmlformats-officedocument.presentationml.tags+xml"/>
  <Override PartName="/ppt/charts/chart79.xml" ContentType="application/vnd.openxmlformats-officedocument.drawingml.chart+xml"/>
  <Override PartName="/ppt/tags/tag121.xml" ContentType="application/vnd.openxmlformats-officedocument.presentationml.tags+xml"/>
  <Override PartName="/ppt/charts/chart80.xml" ContentType="application/vnd.openxmlformats-officedocument.drawingml.chart+xml"/>
  <Override PartName="/ppt/tags/tag122.xml" ContentType="application/vnd.openxmlformats-officedocument.presentationml.tags+xml"/>
  <Override PartName="/ppt/charts/chart81.xml" ContentType="application/vnd.openxmlformats-officedocument.drawingml.chart+xml"/>
  <Override PartName="/ppt/tags/tag123.xml" ContentType="application/vnd.openxmlformats-officedocument.presentationml.tags+xml"/>
  <Override PartName="/ppt/charts/chart82.xml" ContentType="application/vnd.openxmlformats-officedocument.drawingml.chart+xml"/>
  <Override PartName="/ppt/tags/tag124.xml" ContentType="application/vnd.openxmlformats-officedocument.presentationml.tags+xml"/>
  <Override PartName="/ppt/charts/chart83.xml" ContentType="application/vnd.openxmlformats-officedocument.drawingml.chart+xml"/>
  <Override PartName="/ppt/tags/tag125.xml" ContentType="application/vnd.openxmlformats-officedocument.presentationml.tags+xml"/>
  <Override PartName="/ppt/charts/chart84.xml" ContentType="application/vnd.openxmlformats-officedocument.drawingml.chart+xml"/>
  <Override PartName="/ppt/tags/tag126.xml" ContentType="application/vnd.openxmlformats-officedocument.presentationml.tags+xml"/>
  <Override PartName="/ppt/charts/chart85.xml" ContentType="application/vnd.openxmlformats-officedocument.drawingml.chart+xml"/>
  <Override PartName="/ppt/tags/tag127.xml" ContentType="application/vnd.openxmlformats-officedocument.presentationml.tags+xml"/>
  <Override PartName="/ppt/charts/chart86.xml" ContentType="application/vnd.openxmlformats-officedocument.drawingml.chart+xml"/>
  <Override PartName="/ppt/tags/tag128.xml" ContentType="application/vnd.openxmlformats-officedocument.presentationml.tags+xml"/>
  <Override PartName="/ppt/charts/chart87.xml" ContentType="application/vnd.openxmlformats-officedocument.drawingml.chart+xml"/>
  <Override PartName="/ppt/tags/tag129.xml" ContentType="application/vnd.openxmlformats-officedocument.presentationml.tags+xml"/>
  <Override PartName="/ppt/charts/chart88.xml" ContentType="application/vnd.openxmlformats-officedocument.drawingml.chart+xml"/>
  <Override PartName="/ppt/tags/tag130.xml" ContentType="application/vnd.openxmlformats-officedocument.presentationml.tags+xml"/>
  <Override PartName="/ppt/charts/chart89.xml" ContentType="application/vnd.openxmlformats-officedocument.drawingml.chart+xml"/>
  <Override PartName="/ppt/tags/tag131.xml" ContentType="application/vnd.openxmlformats-officedocument.presentationml.tags+xml"/>
  <Override PartName="/ppt/charts/chart90.xml" ContentType="application/vnd.openxmlformats-officedocument.drawingml.chart+xml"/>
  <Override PartName="/ppt/tags/tag132.xml" ContentType="application/vnd.openxmlformats-officedocument.presentationml.tags+xml"/>
  <Override PartName="/ppt/charts/chart91.xml" ContentType="application/vnd.openxmlformats-officedocument.drawingml.chart+xml"/>
  <Override PartName="/ppt/tags/tag133.xml" ContentType="application/vnd.openxmlformats-officedocument.presentationml.tags+xml"/>
  <Override PartName="/ppt/charts/chart92.xml" ContentType="application/vnd.openxmlformats-officedocument.drawingml.chart+xml"/>
  <Override PartName="/ppt/tags/tag134.xml" ContentType="application/vnd.openxmlformats-officedocument.presentationml.tags+xml"/>
  <Override PartName="/ppt/charts/chart93.xml" ContentType="application/vnd.openxmlformats-officedocument.drawingml.chart+xml"/>
  <Override PartName="/ppt/tags/tag135.xml" ContentType="application/vnd.openxmlformats-officedocument.presentationml.tags+xml"/>
  <Override PartName="/ppt/charts/chart94.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1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6555011F-F270-46EA-AEF2-7AB95373EC1A}">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Lst>
        </p14:section>
        <p14:section name="Sectors Share and Growth By Brands" id="{DE916025-C3E3-4125-866D-E157E9993D78}">
          <p14:sldIdLst>
            <p14:sldId id="2147477426"/>
            <p14:sldId id="2147477427"/>
            <p14:sldId id="2147477428"/>
            <p14:sldId id="2147477429"/>
            <p14:sldId id="2147477430"/>
          </p14:sldIdLst>
        </p14:section>
        <p14:section name="Segments Share and Growth By Brands" id="{A6711ECB-29CA-432B-B2D7-EA36A6310462}">
          <p14:sldIdLst>
            <p14:sldId id="2147477431"/>
            <p14:sldId id="2147477432"/>
            <p14:sldId id="2147477433"/>
            <p14:sldId id="2147477434"/>
            <p14:sldId id="2147477435"/>
            <p14:sldId id="2147477436"/>
            <p14:sldId id="2147477437"/>
            <p14:sldId id="2147477438"/>
            <p14:sldId id="2147477439"/>
          </p14:sldIdLst>
        </p14:section>
        <p14:section name="Price Point Distribution Analysis By Brand" id="{5A0217CB-C0A4-448D-88EA-D1AE5661BB3B}">
          <p14:sldIdLst>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1042" y="53"/>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tableStyles" Target="tableStyles.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notesMaster" Target="notesMasters/notesMaster1.xml"/><Relationship Id="rId118" Type="http://schemas.microsoft.com/office/2015/10/relationships/revisionInfo" Target="revisionInfo.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1187A8-E7C3-4164-9FD3-532115E1D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295F79-7A90-4A31-8032-0E6D15538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55147F-A8DA-4BCA-8871-62832ADCA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918F78-66BD-45E3-B27D-D8334D7D1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7EAC793-9554-4462-956B-6AB064B0E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544728-DBDD-4067-9339-92D046CF5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53836DA-0745-46FD-817D-3D7F3265E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B9EB47-4A62-4F33-96ED-4EC949007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8.62180000000001</c:v>
                </c:pt>
                <c:pt idx="1">
                  <c:v>613.25300000000004</c:v>
                </c:pt>
                <c:pt idx="2">
                  <c:v>218.2782</c:v>
                </c:pt>
                <c:pt idx="3">
                  <c:v>581.07939999999996</c:v>
                </c:pt>
                <c:pt idx="4">
                  <c:v>212.268</c:v>
                </c:pt>
                <c:pt idx="5">
                  <c:v>649.51160000000004</c:v>
                </c:pt>
                <c:pt idx="6">
                  <c:v>668.8338</c:v>
                </c:pt>
                <c:pt idx="7">
                  <c:v>300.41239999999999</c:v>
                </c:pt>
                <c:pt idx="8">
                  <c:v>684.904</c:v>
                </c:pt>
              </c:numCache>
            </c:numRef>
          </c:xVal>
          <c:yVal>
            <c:numRef>
              <c:f>Sheet1!$B$2:$B$10</c:f>
              <c:numCache>
                <c:formatCode>General</c:formatCode>
                <c:ptCount val="9"/>
                <c:pt idx="0">
                  <c:v>0.73799999999999999</c:v>
                </c:pt>
                <c:pt idx="1">
                  <c:v>2.8860000000000001</c:v>
                </c:pt>
                <c:pt idx="2">
                  <c:v>0.504</c:v>
                </c:pt>
                <c:pt idx="3">
                  <c:v>4.532</c:v>
                </c:pt>
                <c:pt idx="4">
                  <c:v>0.49199999999999999</c:v>
                </c:pt>
                <c:pt idx="5">
                  <c:v>3.8679999999999999</c:v>
                </c:pt>
                <c:pt idx="6">
                  <c:v>3.4849999999999999</c:v>
                </c:pt>
                <c:pt idx="7">
                  <c:v>1.4259999999999999</c:v>
                </c:pt>
                <c:pt idx="8">
                  <c:v>3.335</c:v>
                </c:pt>
              </c:numCache>
            </c:numRef>
          </c:yVal>
          <c:bubbleSize>
            <c:numRef>
              <c:f>Sheet1!$C$2:$C$10</c:f>
              <c:numCache>
                <c:formatCode>General</c:formatCode>
                <c:ptCount val="9"/>
                <c:pt idx="0">
                  <c:v>793024766</c:v>
                </c:pt>
                <c:pt idx="1">
                  <c:v>629447145</c:v>
                </c:pt>
                <c:pt idx="2">
                  <c:v>386902988</c:v>
                </c:pt>
                <c:pt idx="3">
                  <c:v>385073783</c:v>
                </c:pt>
                <c:pt idx="4">
                  <c:v>329391699</c:v>
                </c:pt>
                <c:pt idx="5">
                  <c:v>268650336</c:v>
                </c:pt>
                <c:pt idx="6">
                  <c:v>254179570</c:v>
                </c:pt>
                <c:pt idx="7">
                  <c:v>163812487</c:v>
                </c:pt>
                <c:pt idx="8">
                  <c:v>11734049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Neutrogena</c:v>
                  </c:pt>
                  <c:pt idx="8">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2"/>
          <c:min val="1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1664F2-2736-4A66-AB9F-5F590F773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CD2F21-98EF-4B09-A5F6-2FE614376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F07FBF-6DB6-4865-AE67-64844E4A8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EC04AE0-8DAB-42A2-89F3-B2E8C195E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5F09E4-EC5A-40A2-A82E-7FFD7C69F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803337-0945-4F6A-ACA7-D0CCCF3C8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26864C-2555-42DF-B3B1-BAB2AF45C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F1E8A20-776F-4A2E-9052-3269419F5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3.31460000000001</c:v>
                </c:pt>
                <c:pt idx="1">
                  <c:v>209.0821</c:v>
                </c:pt>
                <c:pt idx="2">
                  <c:v>228.26419999999999</c:v>
                </c:pt>
                <c:pt idx="3">
                  <c:v>577.1653</c:v>
                </c:pt>
                <c:pt idx="4">
                  <c:v>291.35789999999997</c:v>
                </c:pt>
                <c:pt idx="5">
                  <c:v>84.787800000000004</c:v>
                </c:pt>
                <c:pt idx="6">
                  <c:v>563.72080000000005</c:v>
                </c:pt>
                <c:pt idx="7">
                  <c:v>575.97080000000005</c:v>
                </c:pt>
                <c:pt idx="8">
                  <c:v>192.56129999999999</c:v>
                </c:pt>
              </c:numCache>
            </c:numRef>
          </c:xVal>
          <c:yVal>
            <c:numRef>
              <c:f>Sheet1!$B$2:$B$10</c:f>
              <c:numCache>
                <c:formatCode>General</c:formatCode>
                <c:ptCount val="9"/>
                <c:pt idx="0">
                  <c:v>1.03</c:v>
                </c:pt>
                <c:pt idx="1">
                  <c:v>0.748</c:v>
                </c:pt>
                <c:pt idx="2">
                  <c:v>0.751</c:v>
                </c:pt>
                <c:pt idx="3">
                  <c:v>4.0640000000000001</c:v>
                </c:pt>
                <c:pt idx="4">
                  <c:v>1.9950000000000001</c:v>
                </c:pt>
                <c:pt idx="5">
                  <c:v>0.40899999999999997</c:v>
                </c:pt>
                <c:pt idx="6">
                  <c:v>6.1130000000000004</c:v>
                </c:pt>
                <c:pt idx="7">
                  <c:v>4.8920000000000003</c:v>
                </c:pt>
                <c:pt idx="8">
                  <c:v>3.02</c:v>
                </c:pt>
              </c:numCache>
            </c:numRef>
          </c:yVal>
          <c:bubbleSize>
            <c:numRef>
              <c:f>Sheet1!$C$2:$C$10</c:f>
              <c:numCache>
                <c:formatCode>General</c:formatCode>
                <c:ptCount val="9"/>
                <c:pt idx="0">
                  <c:v>523432960</c:v>
                </c:pt>
                <c:pt idx="1">
                  <c:v>246489415</c:v>
                </c:pt>
                <c:pt idx="2">
                  <c:v>205279552</c:v>
                </c:pt>
                <c:pt idx="3">
                  <c:v>108131910</c:v>
                </c:pt>
                <c:pt idx="4">
                  <c:v>101346207</c:v>
                </c:pt>
                <c:pt idx="5">
                  <c:v>61992752</c:v>
                </c:pt>
                <c:pt idx="6">
                  <c:v>44526055</c:v>
                </c:pt>
                <c:pt idx="7">
                  <c:v>39227065</c:v>
                </c:pt>
                <c:pt idx="8">
                  <c:v>30494965</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Eucerin</c:v>
                  </c:pt>
                  <c:pt idx="8">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0BA478-4DA8-452B-AA7F-E00F20D68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FED4288-0BBF-497D-BAB5-8DC80591F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E7D7EA-25EE-4A20-A64C-93531CD2A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A04299A-2B75-44DE-866D-BCB8C279B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89E0659-AAB0-4BC7-B51E-8E605EBF2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350A7E7-D671-42B1-AD7E-B949CEE17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4FDDBD1-6960-4B83-9E51-6FD9FBB0E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D79B403-9BCF-49E0-8F1A-F61734786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632.50260000000003</c:v>
                </c:pt>
                <c:pt idx="1">
                  <c:v>548.4271</c:v>
                </c:pt>
                <c:pt idx="2">
                  <c:v>681.34450000000004</c:v>
                </c:pt>
                <c:pt idx="3">
                  <c:v>678.15869999999995</c:v>
                </c:pt>
              </c:numCache>
            </c:numRef>
          </c:xVal>
          <c:yVal>
            <c:numRef>
              <c:f>Sheet1!$B$2:$B$5</c:f>
              <c:numCache>
                <c:formatCode>General</c:formatCode>
                <c:ptCount val="4"/>
                <c:pt idx="0">
                  <c:v>0.874</c:v>
                </c:pt>
                <c:pt idx="1">
                  <c:v>1.736</c:v>
                </c:pt>
                <c:pt idx="2">
                  <c:v>2.4820000000000002</c:v>
                </c:pt>
                <c:pt idx="3">
                  <c:v>0.93500000000000005</c:v>
                </c:pt>
              </c:numCache>
            </c:numRef>
          </c:yVal>
          <c:bubbleSize>
            <c:numRef>
              <c:f>Sheet1!$C$2:$C$5</c:f>
              <c:numCache>
                <c:formatCode>General</c:formatCode>
                <c:ptCount val="4"/>
                <c:pt idx="0">
                  <c:v>29936346</c:v>
                </c:pt>
                <c:pt idx="1">
                  <c:v>29139577</c:v>
                </c:pt>
                <c:pt idx="2">
                  <c:v>3833244</c:v>
                </c:pt>
                <c:pt idx="3">
                  <c:v>3764459</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pt idx="3">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8"/>
          <c:min val="43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940AD5-821B-4456-960E-F43DC4483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7ECFD3-D924-4116-8307-DECADBDC4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E7F832-74E5-4E7F-9B01-B020E8EAE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AE2A3E-FD19-4459-AD25-51F848E90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FAF9DB-A6AE-4852-BBA8-F124ABF4C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8AAB24-84E0-44E6-8A5B-740A9A6AE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F69B08-69AD-44E8-93D5-351CF11AC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578323-A44F-43A6-B664-CF22769D4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16.96550000000002</c:v>
                </c:pt>
                <c:pt idx="1">
                  <c:v>258.39229999999998</c:v>
                </c:pt>
                <c:pt idx="2">
                  <c:v>652.5068</c:v>
                </c:pt>
                <c:pt idx="3">
                  <c:v>301.11059999999998</c:v>
                </c:pt>
                <c:pt idx="4">
                  <c:v>657.21069999999997</c:v>
                </c:pt>
                <c:pt idx="5">
                  <c:v>692.55909999999994</c:v>
                </c:pt>
                <c:pt idx="6">
                  <c:v>245.6242</c:v>
                </c:pt>
                <c:pt idx="7">
                  <c:v>246.9444</c:v>
                </c:pt>
                <c:pt idx="8">
                  <c:v>80.877200000000002</c:v>
                </c:pt>
              </c:numCache>
            </c:numRef>
          </c:xVal>
          <c:yVal>
            <c:numRef>
              <c:f>Sheet1!$B$2:$B$10</c:f>
              <c:numCache>
                <c:formatCode>General</c:formatCode>
                <c:ptCount val="9"/>
                <c:pt idx="0">
                  <c:v>4.9809999999999999</c:v>
                </c:pt>
                <c:pt idx="1">
                  <c:v>1.0229999999999999</c:v>
                </c:pt>
                <c:pt idx="2">
                  <c:v>3.0009999999999999</c:v>
                </c:pt>
                <c:pt idx="3">
                  <c:v>1.331</c:v>
                </c:pt>
                <c:pt idx="4">
                  <c:v>4.7190000000000003</c:v>
                </c:pt>
                <c:pt idx="5">
                  <c:v>3.266</c:v>
                </c:pt>
                <c:pt idx="6">
                  <c:v>0.46600000000000003</c:v>
                </c:pt>
                <c:pt idx="7">
                  <c:v>0.44</c:v>
                </c:pt>
                <c:pt idx="8">
                  <c:v>0.26200000000000001</c:v>
                </c:pt>
              </c:numCache>
            </c:numRef>
          </c:yVal>
          <c:bubbleSize>
            <c:numRef>
              <c:f>Sheet1!$C$2:$C$10</c:f>
              <c:numCache>
                <c:formatCode>General</c:formatCode>
                <c:ptCount val="9"/>
                <c:pt idx="0">
                  <c:v>328173180</c:v>
                </c:pt>
                <c:pt idx="1">
                  <c:v>313276882</c:v>
                </c:pt>
                <c:pt idx="2">
                  <c:v>160863816</c:v>
                </c:pt>
                <c:pt idx="3">
                  <c:v>160839713</c:v>
                </c:pt>
                <c:pt idx="4">
                  <c:v>106499686</c:v>
                </c:pt>
                <c:pt idx="5">
                  <c:v>104277234</c:v>
                </c:pt>
                <c:pt idx="6">
                  <c:v>103052369</c:v>
                </c:pt>
                <c:pt idx="7">
                  <c:v>95736634</c:v>
                </c:pt>
                <c:pt idx="8">
                  <c:v>79091906</c:v>
                </c:pt>
              </c:numCache>
            </c:numRef>
          </c:bubbleSize>
          <c:bubble3D val="0"/>
          <c:extLst>
            <c:ext xmlns:c15="http://schemas.microsoft.com/office/drawing/2012/chart" uri="{02D57815-91ED-43cb-92C2-25804820EDAC}">
              <c15:datalabelsRange>
                <c15:f>Sheet1!$E$2:$E$10</c15:f>
                <c15:dlblRangeCache>
                  <c:ptCount val="9"/>
                  <c:pt idx="0">
                    <c:v>Isdin</c:v>
                  </c:pt>
                  <c:pt idx="1">
                    <c:v>Nivea</c:v>
                  </c:pt>
                  <c:pt idx="2">
                    <c:v>Avene</c:v>
                  </c:pt>
                  <c:pt idx="3">
                    <c:v>Neutrogena</c:v>
                  </c:pt>
                  <c:pt idx="4">
                    <c:v>La Roche-Posay</c:v>
                  </c:pt>
                  <c:pt idx="5">
                    <c:v>Eucerin</c:v>
                  </c:pt>
                  <c:pt idx="6">
                    <c:v>Hawaiian Tropic</c:v>
                  </c:pt>
                  <c:pt idx="7">
                    <c:v>Banana Boat</c:v>
                  </c:pt>
                  <c:pt idx="8">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1"/>
          <c:min val="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3E17F5-8EDE-4C66-9780-EF4A3B312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48735F0-C61B-44D8-89BE-516DC9896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CC80714-1224-492A-86AE-A6AE2603C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AE9DC7A-5B00-490A-B8C8-5E3605988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25F9840-3D06-4E86-A24E-363D02253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6CF8B4C-BF90-439E-BADB-3590A7A7F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D71408D-15C0-499A-A205-81FCE5189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A0D8F28-EF95-445F-BFF2-DAD17E44B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1935</c:v>
                </c:pt>
              </c:numCache>
            </c:numRef>
          </c:xVal>
          <c:yVal>
            <c:numRef>
              <c:f>Sheet1!$B$2:$B$2</c:f>
              <c:numCache>
                <c:formatCode>General</c:formatCode>
                <c:ptCount val="1"/>
                <c:pt idx="0">
                  <c:v>0.183</c:v>
                </c:pt>
              </c:numCache>
            </c:numRef>
          </c:yVal>
          <c:bubbleSize>
            <c:numRef>
              <c:f>Sheet1!$C$2:$C$2</c:f>
              <c:numCache>
                <c:formatCode>General</c:formatCode>
                <c:ptCount val="1"/>
                <c:pt idx="0">
                  <c:v>14208</c:v>
                </c:pt>
              </c:numCache>
            </c:numRef>
          </c:bubbleSize>
          <c:bubble3D val="0"/>
          <c:extLst>
            <c:ext xmlns:c15="http://schemas.microsoft.com/office/drawing/2012/chart" uri="{02D57815-91ED-43cb-92C2-25804820EDAC}">
              <c15:datalabelsRange>
                <c15:f>Sheet1!$E$2:$E$10</c15:f>
                <c15:dlblRangeCache>
                  <c:ptCount val="9"/>
                  <c:pt idx="0">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0E20C1-9148-4374-92F2-19D1C3F7D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FFA5D3-5369-4201-BD04-AB26EC71E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38711A-4551-437D-9327-72330C3A6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2DA4C2-10C9-49D8-88E6-F6AD5D359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22DB61-39E9-4EEF-91C5-04701D860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0D1ACD-8B7C-4022-B496-E33CC4EB9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79B76F6-80B8-4404-8FFC-87149E607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9786CAB-1991-4275-B423-681D5C53E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614.13599999999997</c:v>
                </c:pt>
                <c:pt idx="1">
                  <c:v>645.86260000000004</c:v>
                </c:pt>
                <c:pt idx="2">
                  <c:v>726.0145</c:v>
                </c:pt>
                <c:pt idx="3">
                  <c:v>646.51089999999999</c:v>
                </c:pt>
                <c:pt idx="4">
                  <c:v>592.42269999999996</c:v>
                </c:pt>
                <c:pt idx="5">
                  <c:v>581.06089999999995</c:v>
                </c:pt>
                <c:pt idx="6">
                  <c:v>261.5958</c:v>
                </c:pt>
              </c:numCache>
            </c:numRef>
          </c:xVal>
          <c:yVal>
            <c:numRef>
              <c:f>Sheet1!$B$2:$B$8</c:f>
              <c:numCache>
                <c:formatCode>General</c:formatCode>
                <c:ptCount val="7"/>
                <c:pt idx="0">
                  <c:v>0.98499999999999999</c:v>
                </c:pt>
                <c:pt idx="1">
                  <c:v>1.04</c:v>
                </c:pt>
                <c:pt idx="2">
                  <c:v>1.2529999999999999</c:v>
                </c:pt>
                <c:pt idx="3">
                  <c:v>1.04</c:v>
                </c:pt>
                <c:pt idx="4">
                  <c:v>0.95099999999999996</c:v>
                </c:pt>
                <c:pt idx="5">
                  <c:v>1.2</c:v>
                </c:pt>
                <c:pt idx="6">
                  <c:v>0.52500000000000002</c:v>
                </c:pt>
              </c:numCache>
            </c:numRef>
          </c:yVal>
          <c:bubbleSize>
            <c:numRef>
              <c:f>Sheet1!$C$2:$C$8</c:f>
              <c:numCache>
                <c:formatCode>General</c:formatCode>
                <c:ptCount val="7"/>
                <c:pt idx="0">
                  <c:v>147422120</c:v>
                </c:pt>
                <c:pt idx="1">
                  <c:v>96362699</c:v>
                </c:pt>
                <c:pt idx="2">
                  <c:v>58831861</c:v>
                </c:pt>
                <c:pt idx="3">
                  <c:v>26462337</c:v>
                </c:pt>
                <c:pt idx="4">
                  <c:v>21888242</c:v>
                </c:pt>
                <c:pt idx="5">
                  <c:v>18933868</c:v>
                </c:pt>
                <c:pt idx="6">
                  <c:v>16500156</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pt idx="6">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
          <c:min val="2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811D43B-3B1C-427B-8681-AE868848E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7F2077-819C-49F9-9948-D173E7374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F163DB-8CEA-4FB0-A4F5-FA4D5E2E3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04B3A3-CCA5-45EA-B90F-DC06688BA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090B14-F0ED-495F-BCAF-22552603B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C08414-3FC8-4E69-82B2-177929470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3092AF-D65F-468D-BDC3-3B1E2DB54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4908DBA-D64C-4C66-BC5C-AA3B2908A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74.8569</c:v>
                </c:pt>
                <c:pt idx="1">
                  <c:v>627.3288</c:v>
                </c:pt>
                <c:pt idx="2">
                  <c:v>623.38030000000003</c:v>
                </c:pt>
                <c:pt idx="3">
                  <c:v>577.38869999999997</c:v>
                </c:pt>
                <c:pt idx="4">
                  <c:v>646.18470000000002</c:v>
                </c:pt>
                <c:pt idx="5">
                  <c:v>721.47519999999997</c:v>
                </c:pt>
                <c:pt idx="6">
                  <c:v>495.24310000000003</c:v>
                </c:pt>
              </c:numCache>
            </c:numRef>
          </c:xVal>
          <c:yVal>
            <c:numRef>
              <c:f>Sheet1!$B$2:$B$8</c:f>
              <c:numCache>
                <c:formatCode>General</c:formatCode>
                <c:ptCount val="7"/>
                <c:pt idx="0">
                  <c:v>0.496</c:v>
                </c:pt>
                <c:pt idx="1">
                  <c:v>0.85199999999999998</c:v>
                </c:pt>
                <c:pt idx="2">
                  <c:v>4.1539999999999999</c:v>
                </c:pt>
                <c:pt idx="3">
                  <c:v>3.8279999999999998</c:v>
                </c:pt>
                <c:pt idx="4">
                  <c:v>3.6280000000000001</c:v>
                </c:pt>
                <c:pt idx="5">
                  <c:v>6.1589999999999998</c:v>
                </c:pt>
                <c:pt idx="6">
                  <c:v>1.6559999999999999</c:v>
                </c:pt>
              </c:numCache>
            </c:numRef>
          </c:yVal>
          <c:bubbleSize>
            <c:numRef>
              <c:f>Sheet1!$C$2:$C$8</c:f>
              <c:numCache>
                <c:formatCode>General</c:formatCode>
                <c:ptCount val="7"/>
                <c:pt idx="0">
                  <c:v>129845148</c:v>
                </c:pt>
                <c:pt idx="1">
                  <c:v>112770510</c:v>
                </c:pt>
                <c:pt idx="2">
                  <c:v>91754106</c:v>
                </c:pt>
                <c:pt idx="3">
                  <c:v>61804261</c:v>
                </c:pt>
                <c:pt idx="4">
                  <c:v>23401579</c:v>
                </c:pt>
                <c:pt idx="5">
                  <c:v>13728230</c:v>
                </c:pt>
                <c:pt idx="6">
                  <c:v>632128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Heliocare</c:v>
                  </c:pt>
                  <c:pt idx="5">
                    <c:v>Photoderm</c:v>
                  </c:pt>
                  <c:pt idx="6">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C2F292-9492-408B-BEFB-FE7E120B0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182048-3E42-4B34-81A3-69E12636B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2E2ADDA-794E-45FB-9596-DB6F7E561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61E4C4A-0B5D-4382-BDF6-7212A45C8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44B64FF-EB9A-4D6C-982E-E2AED10CE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523B9A5-D767-4944-A9DD-590AAB056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5F338B4-A2A8-4000-8078-AC72D3A38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069308A-3052-4E79-8A39-57FFD8985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78.49900000000002</c:v>
                </c:pt>
                <c:pt idx="1">
                  <c:v>788.79700000000003</c:v>
                </c:pt>
              </c:numCache>
            </c:numRef>
          </c:xVal>
          <c:yVal>
            <c:numRef>
              <c:f>Sheet1!$B$2:$B$3</c:f>
              <c:numCache>
                <c:formatCode>General</c:formatCode>
                <c:ptCount val="2"/>
                <c:pt idx="0">
                  <c:v>0.90100000000000002</c:v>
                </c:pt>
                <c:pt idx="1">
                  <c:v>2.1040000000000001</c:v>
                </c:pt>
              </c:numCache>
            </c:numRef>
          </c:yVal>
          <c:bubbleSize>
            <c:numRef>
              <c:f>Sheet1!$C$2:$C$3</c:f>
              <c:numCache>
                <c:formatCode>General</c:formatCode>
                <c:ptCount val="2"/>
                <c:pt idx="0">
                  <c:v>34963731</c:v>
                </c:pt>
                <c:pt idx="1">
                  <c:v>7290851</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7"/>
          <c:min val="5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91D1B7-AD4B-4DA9-A901-C0EF0D0D9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2A8878-EE9A-44FB-ACF3-57ACE188D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538153-096C-4B32-85B6-7B4E50B57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1E0239-CAD9-4771-B2A5-A065F0807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935C5F2-583F-42D4-9E48-16717DA90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0E84AE-65D7-4BA9-8E7A-188592869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C034DA1-015B-4000-9CC1-5AAFB2596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B6084CB-0369-4394-9E02-74D2107A1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35.20339999999999</c:v>
                </c:pt>
                <c:pt idx="1">
                  <c:v>208.14179999999999</c:v>
                </c:pt>
                <c:pt idx="2">
                  <c:v>189.946</c:v>
                </c:pt>
                <c:pt idx="3">
                  <c:v>242.57839999999999</c:v>
                </c:pt>
                <c:pt idx="4">
                  <c:v>623.33420000000001</c:v>
                </c:pt>
                <c:pt idx="5">
                  <c:v>207.99539999999999</c:v>
                </c:pt>
                <c:pt idx="6">
                  <c:v>744.73800000000006</c:v>
                </c:pt>
                <c:pt idx="7">
                  <c:v>675.7758</c:v>
                </c:pt>
                <c:pt idx="8">
                  <c:v>505.11149999999998</c:v>
                </c:pt>
              </c:numCache>
            </c:numRef>
          </c:xVal>
          <c:yVal>
            <c:numRef>
              <c:f>Sheet1!$B$2:$B$10</c:f>
              <c:numCache>
                <c:formatCode>General</c:formatCode>
                <c:ptCount val="9"/>
                <c:pt idx="0">
                  <c:v>0.90600000000000003</c:v>
                </c:pt>
                <c:pt idx="1">
                  <c:v>0.80900000000000005</c:v>
                </c:pt>
                <c:pt idx="2">
                  <c:v>0.83299999999999996</c:v>
                </c:pt>
                <c:pt idx="3">
                  <c:v>3.9609999999999999</c:v>
                </c:pt>
                <c:pt idx="4">
                  <c:v>4.7930000000000001</c:v>
                </c:pt>
                <c:pt idx="5">
                  <c:v>2.5579999999999998</c:v>
                </c:pt>
                <c:pt idx="6">
                  <c:v>4.5679999999999996</c:v>
                </c:pt>
                <c:pt idx="7">
                  <c:v>2.54</c:v>
                </c:pt>
                <c:pt idx="8">
                  <c:v>2.5590000000000002</c:v>
                </c:pt>
              </c:numCache>
            </c:numRef>
          </c:yVal>
          <c:bubbleSize>
            <c:numRef>
              <c:f>Sheet1!$C$2:$C$10</c:f>
              <c:numCache>
                <c:formatCode>General</c:formatCode>
                <c:ptCount val="9"/>
                <c:pt idx="0">
                  <c:v>318387310</c:v>
                </c:pt>
                <c:pt idx="1">
                  <c:v>245934124</c:v>
                </c:pt>
                <c:pt idx="2">
                  <c:v>103324944</c:v>
                </c:pt>
                <c:pt idx="3">
                  <c:v>26871382</c:v>
                </c:pt>
                <c:pt idx="4">
                  <c:v>18994862</c:v>
                </c:pt>
                <c:pt idx="5">
                  <c:v>13146973</c:v>
                </c:pt>
                <c:pt idx="6">
                  <c:v>11537481</c:v>
                </c:pt>
                <c:pt idx="7">
                  <c:v>10352210</c:v>
                </c:pt>
                <c:pt idx="8">
                  <c:v>9773403</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Loreal Paris</c:v>
                  </c:pt>
                  <c:pt idx="4">
                    <c:v>Isdin</c:v>
                  </c:pt>
                  <c:pt idx="5">
                    <c:v>Beauty Care</c:v>
                  </c:pt>
                  <c:pt idx="6">
                    <c:v>La Roche-Posay</c:v>
                  </c:pt>
                  <c:pt idx="7">
                    <c:v>Eucerin</c:v>
                  </c:pt>
                  <c:pt idx="8">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4"/>
          <c:min val="15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EA6454-49BF-4FB4-9AF2-324FF9C40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B5E2A4-46B9-4466-8B70-1104F73D7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3DFED9-1871-401C-B87C-31FEE01A58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6313EE-74E3-4E5D-8FF0-3C7654387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EBEB69-50FB-4A8F-94C6-0436B7279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138DE4F-15EA-4842-B9BA-48C98C819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A6F2B76-7EFE-4E5F-BAFE-9EDC67E78F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C96B278-A659-4230-AC1F-8DF0B1D46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33.06200000000001</c:v>
                </c:pt>
                <c:pt idx="1">
                  <c:v>614.44690000000003</c:v>
                </c:pt>
                <c:pt idx="2">
                  <c:v>287.61689999999999</c:v>
                </c:pt>
                <c:pt idx="3">
                  <c:v>624.47</c:v>
                </c:pt>
                <c:pt idx="4">
                  <c:v>404.45150000000001</c:v>
                </c:pt>
              </c:numCache>
            </c:numRef>
          </c:xVal>
          <c:yVal>
            <c:numRef>
              <c:f>Sheet1!$B$2:$B$6</c:f>
              <c:numCache>
                <c:formatCode>General</c:formatCode>
                <c:ptCount val="5"/>
                <c:pt idx="0">
                  <c:v>0.90800000000000003</c:v>
                </c:pt>
                <c:pt idx="1">
                  <c:v>1.6819999999999999</c:v>
                </c:pt>
                <c:pt idx="2">
                  <c:v>2.903</c:v>
                </c:pt>
                <c:pt idx="3">
                  <c:v>2.6840000000000002</c:v>
                </c:pt>
                <c:pt idx="4">
                  <c:v>4.085</c:v>
                </c:pt>
              </c:numCache>
            </c:numRef>
          </c:yVal>
          <c:bubbleSize>
            <c:numRef>
              <c:f>Sheet1!$C$2:$C$6</c:f>
              <c:numCache>
                <c:formatCode>General</c:formatCode>
                <c:ptCount val="5"/>
                <c:pt idx="0">
                  <c:v>96910458</c:v>
                </c:pt>
                <c:pt idx="1">
                  <c:v>6626810</c:v>
                </c:pt>
                <c:pt idx="2">
                  <c:v>4484235</c:v>
                </c:pt>
                <c:pt idx="3">
                  <c:v>4388775</c:v>
                </c:pt>
                <c:pt idx="4">
                  <c:v>2967056</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Eclipsol</c:v>
                  </c:pt>
                  <c:pt idx="3">
                    <c:v>La Roche-Posay</c:v>
                  </c:pt>
                  <c:pt idx="4">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9"/>
          <c:min val="18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5218F9-DE47-4372-AA83-E59C29A30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FE427EE-9946-4CC6-9B3F-A5415198C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7B7D8A7-E536-4DD6-ACA6-E3CE515FF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B3492A3-732D-4AEE-8546-A9CCC68A4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89761FA-4D65-4DEF-8B78-FD42AB2B82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8080ACB-DF75-4C37-992F-9002F449A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80223E2-C6BD-4CAF-B019-8CBF59700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CD44272-C114-4F97-937A-9459CA07F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6.14070000000001</c:v>
                </c:pt>
              </c:numCache>
            </c:numRef>
          </c:xVal>
          <c:yVal>
            <c:numRef>
              <c:f>Sheet1!$B$2:$B$2</c:f>
              <c:numCache>
                <c:formatCode>General</c:formatCode>
                <c:ptCount val="1"/>
                <c:pt idx="0">
                  <c:v>1</c:v>
                </c:pt>
              </c:numCache>
            </c:numRef>
          </c:yVal>
          <c:bubbleSize>
            <c:numRef>
              <c:f>Sheet1!$C$2:$C$2</c:f>
              <c:numCache>
                <c:formatCode>General</c:formatCode>
                <c:ptCount val="1"/>
                <c:pt idx="0">
                  <c:v>3247129</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7"/>
          <c:min val="1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598B63-68EB-4975-A486-E4E22396D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32FF33-AE27-4944-8E8E-47DB723D9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57D96B1-E4F1-476F-BA10-0F160A06A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1F0700F-EF8C-4C56-A488-CDB994968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A8BCBCD-630F-47A2-8AF2-2BB9A9CEA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9D039F-3478-4DF9-B91F-08CAC8574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385C160-C1B2-48FB-9D8B-CE6B837E2F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0D3F7D-8EA0-46BE-8C86-4C259FC6A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50.75120000000001</c:v>
                </c:pt>
                <c:pt idx="1">
                  <c:v>612.90509999999995</c:v>
                </c:pt>
                <c:pt idx="2">
                  <c:v>219.54179999999999</c:v>
                </c:pt>
                <c:pt idx="3">
                  <c:v>589.39139999999998</c:v>
                </c:pt>
                <c:pt idx="4">
                  <c:v>212.96</c:v>
                </c:pt>
                <c:pt idx="5">
                  <c:v>659.04079999999999</c:v>
                </c:pt>
                <c:pt idx="6">
                  <c:v>682.5127</c:v>
                </c:pt>
                <c:pt idx="7">
                  <c:v>300.99579999999997</c:v>
                </c:pt>
                <c:pt idx="8">
                  <c:v>708.92679999999996</c:v>
                </c:pt>
              </c:numCache>
            </c:numRef>
          </c:xVal>
          <c:yVal>
            <c:numRef>
              <c:f>Sheet1!$B$2:$B$10</c:f>
              <c:numCache>
                <c:formatCode>General</c:formatCode>
                <c:ptCount val="9"/>
                <c:pt idx="0">
                  <c:v>0.73099999999999998</c:v>
                </c:pt>
                <c:pt idx="1">
                  <c:v>2.7789999999999999</c:v>
                </c:pt>
                <c:pt idx="2">
                  <c:v>0.501</c:v>
                </c:pt>
                <c:pt idx="3">
                  <c:v>4.625</c:v>
                </c:pt>
                <c:pt idx="4">
                  <c:v>0.48899999999999999</c:v>
                </c:pt>
                <c:pt idx="5">
                  <c:v>3.8980000000000001</c:v>
                </c:pt>
                <c:pt idx="6">
                  <c:v>3.4430000000000001</c:v>
                </c:pt>
                <c:pt idx="7">
                  <c:v>1.4159999999999999</c:v>
                </c:pt>
                <c:pt idx="8">
                  <c:v>3.6160000000000001</c:v>
                </c:pt>
              </c:numCache>
            </c:numRef>
          </c:yVal>
          <c:bubbleSize>
            <c:numRef>
              <c:f>Sheet1!$C$2:$C$10</c:f>
              <c:numCache>
                <c:formatCode>General</c:formatCode>
                <c:ptCount val="9"/>
                <c:pt idx="0">
                  <c:v>726313442</c:v>
                </c:pt>
                <c:pt idx="1">
                  <c:v>560154823</c:v>
                </c:pt>
                <c:pt idx="2">
                  <c:v>374545370</c:v>
                </c:pt>
                <c:pt idx="3">
                  <c:v>354099274</c:v>
                </c:pt>
                <c:pt idx="4">
                  <c:v>315308437</c:v>
                </c:pt>
                <c:pt idx="5">
                  <c:v>246274334</c:v>
                </c:pt>
                <c:pt idx="6">
                  <c:v>224564421</c:v>
                </c:pt>
                <c:pt idx="7">
                  <c:v>161084241</c:v>
                </c:pt>
                <c:pt idx="8">
                  <c:v>11197357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Neutrogena</c:v>
                  </c:pt>
                  <c:pt idx="8">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1"/>
          <c:min val="1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F0D6DD-DDE6-4BCC-A94F-E2309B9F7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6A8D052-BAB6-41D8-994D-E89D0D4FD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9DFD85A-DDAA-4663-873A-ABE66D76F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FC80310-F3C6-47D8-A65E-79E45220C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183DCB8-E48D-4D7D-A0E9-27D78246E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1F97CB4-57C3-48E7-9119-950BB91DB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01FF2A1-81CC-4888-A4C5-12FD1B02E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2A4E19A-AB9C-4C70-A9F8-E1CEB200B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05699999999999</c:v>
                </c:pt>
              </c:numCache>
            </c:numRef>
          </c:xVal>
          <c:yVal>
            <c:numRef>
              <c:f>Sheet1!$B$2:$B$2</c:f>
              <c:numCache>
                <c:formatCode>General</c:formatCode>
                <c:ptCount val="1"/>
                <c:pt idx="0">
                  <c:v>0.93899999999999995</c:v>
                </c:pt>
              </c:numCache>
            </c:numRef>
          </c:yVal>
          <c:bubbleSize>
            <c:numRef>
              <c:f>Sheet1!$C$2:$C$2</c:f>
              <c:numCache>
                <c:formatCode>General</c:formatCode>
                <c:ptCount val="1"/>
                <c:pt idx="0">
                  <c:v>13435038</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8"/>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3CDD77-1D27-410E-A328-ACE67E756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8F80FA-7821-4D12-B01E-FE4967D06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D8F8E9-DF6E-4066-B13C-5EAB2C8DC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A99648-C670-4BF3-B08C-8BE3624AE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771D1B-6E46-471B-A103-7939B4F96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CC1D61-A00B-4D8D-BBAA-F93EA373E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4F082E5-48E3-4CF5-8B81-477434931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2809D79-5E98-4D2D-8791-AB750287E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721.28530000000001</c:v>
                </c:pt>
                <c:pt idx="1">
                  <c:v>975.346</c:v>
                </c:pt>
                <c:pt idx="2">
                  <c:v>247.04259999999999</c:v>
                </c:pt>
                <c:pt idx="3">
                  <c:v>357.13549999999998</c:v>
                </c:pt>
                <c:pt idx="4">
                  <c:v>605.37639999999999</c:v>
                </c:pt>
                <c:pt idx="5">
                  <c:v>317.80939999999998</c:v>
                </c:pt>
              </c:numCache>
            </c:numRef>
          </c:xVal>
          <c:yVal>
            <c:numRef>
              <c:f>Sheet1!$B$2:$B$7</c:f>
              <c:numCache>
                <c:formatCode>General</c:formatCode>
                <c:ptCount val="6"/>
                <c:pt idx="0">
                  <c:v>1.2629999999999999</c:v>
                </c:pt>
                <c:pt idx="1">
                  <c:v>2.3479999999999999</c:v>
                </c:pt>
                <c:pt idx="2">
                  <c:v>0.29099999999999998</c:v>
                </c:pt>
                <c:pt idx="3">
                  <c:v>1.034</c:v>
                </c:pt>
                <c:pt idx="4">
                  <c:v>2.3410000000000002</c:v>
                </c:pt>
                <c:pt idx="5">
                  <c:v>1.042</c:v>
                </c:pt>
              </c:numCache>
            </c:numRef>
          </c:yVal>
          <c:bubbleSize>
            <c:numRef>
              <c:f>Sheet1!$C$2:$C$7</c:f>
              <c:numCache>
                <c:formatCode>General</c:formatCode>
                <c:ptCount val="6"/>
                <c:pt idx="0">
                  <c:v>24116173</c:v>
                </c:pt>
                <c:pt idx="1">
                  <c:v>4087675</c:v>
                </c:pt>
                <c:pt idx="2">
                  <c:v>3113231</c:v>
                </c:pt>
                <c:pt idx="3">
                  <c:v>2739229</c:v>
                </c:pt>
                <c:pt idx="4">
                  <c:v>2301641</c:v>
                </c:pt>
                <c:pt idx="5">
                  <c:v>1190832</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Banana Boat</c:v>
                  </c:pt>
                  <c:pt idx="3">
                    <c:v>Australian Gold</c:v>
                  </c:pt>
                  <c:pt idx="4">
                    <c:v>Genove</c:v>
                  </c:pt>
                  <c:pt idx="5">
                    <c:v>Ocean Po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0"/>
          <c:min val="19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951540-661F-43C0-8630-824938556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882BCF-27F4-4301-AE9E-A9F1E6D72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7AD51B-A69F-4A07-995F-B2602A085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22AAA0B-C939-4A9C-B58D-5F0598459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B069FCB-47E5-48CC-9A53-52AB7F598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12F555F-EBBE-4A8F-985B-133144093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4AA6DD9-14AD-488A-AA57-8BDF3480C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AACC4D4-F938-43E4-902B-97BB2B6DA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475.40699999999998</c:v>
                </c:pt>
                <c:pt idx="1">
                  <c:v>550.43579999999997</c:v>
                </c:pt>
                <c:pt idx="2">
                  <c:v>350.09210000000002</c:v>
                </c:pt>
              </c:numCache>
            </c:numRef>
          </c:xVal>
          <c:yVal>
            <c:numRef>
              <c:f>Sheet1!$B$2:$B$4</c:f>
              <c:numCache>
                <c:formatCode>General</c:formatCode>
                <c:ptCount val="3"/>
                <c:pt idx="0">
                  <c:v>1.603</c:v>
                </c:pt>
                <c:pt idx="1">
                  <c:v>0.74299999999999999</c:v>
                </c:pt>
                <c:pt idx="2">
                  <c:v>0.28499999999999998</c:v>
                </c:pt>
              </c:numCache>
            </c:numRef>
          </c:yVal>
          <c:bubbleSize>
            <c:numRef>
              <c:f>Sheet1!$C$2:$C$4</c:f>
              <c:numCache>
                <c:formatCode>General</c:formatCode>
                <c:ptCount val="3"/>
                <c:pt idx="0">
                  <c:v>36576861</c:v>
                </c:pt>
                <c:pt idx="1">
                  <c:v>12639657</c:v>
                </c:pt>
                <c:pt idx="2">
                  <c:v>2161819</c:v>
                </c:pt>
              </c:numCache>
            </c:numRef>
          </c:bubbleSize>
          <c:bubble3D val="0"/>
          <c:extLst>
            <c:ext xmlns:c15="http://schemas.microsoft.com/office/drawing/2012/chart" uri="{02D57815-91ED-43cb-92C2-25804820EDAC}">
              <c15:datalabelsRange>
                <c15:f>Sheet1!$E$2:$E$10</c15:f>
                <c15:dlblRangeCache>
                  <c:ptCount val="9"/>
                  <c:pt idx="0">
                    <c:v>Isdin</c:v>
                  </c:pt>
                  <c:pt idx="1">
                    <c:v>Heliocare</c:v>
                  </c:pt>
                  <c:pt idx="2">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1"/>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E59686-57FB-4F91-87C3-145DE2967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A7FCB1-4F24-49FA-BE4A-69C18F177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9CC0CB-2B42-49DD-B3C4-5BECECE30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2A6667-12FF-4492-9678-3601301BA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6411F30-79AA-45B6-8713-BE61DF23A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E820745-A7EB-47D8-BAC3-91036D902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A66D1F-194E-4990-9734-CA0F7391D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73830FB-3C2F-4B4F-87A5-EFD46C6B8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637.73310000000004</c:v>
                </c:pt>
                <c:pt idx="1">
                  <c:v>558.16319999999996</c:v>
                </c:pt>
                <c:pt idx="2">
                  <c:v>711.97400000000005</c:v>
                </c:pt>
                <c:pt idx="3">
                  <c:v>704.71749999999997</c:v>
                </c:pt>
              </c:numCache>
            </c:numRef>
          </c:xVal>
          <c:yVal>
            <c:numRef>
              <c:f>Sheet1!$B$2:$B$5</c:f>
              <c:numCache>
                <c:formatCode>General</c:formatCode>
                <c:ptCount val="4"/>
                <c:pt idx="0">
                  <c:v>0.84799999999999998</c:v>
                </c:pt>
                <c:pt idx="1">
                  <c:v>1.726</c:v>
                </c:pt>
                <c:pt idx="2">
                  <c:v>2.8479999999999999</c:v>
                </c:pt>
                <c:pt idx="3">
                  <c:v>0.93700000000000006</c:v>
                </c:pt>
              </c:numCache>
            </c:numRef>
          </c:yVal>
          <c:bubbleSize>
            <c:numRef>
              <c:f>Sheet1!$C$2:$C$5</c:f>
              <c:numCache>
                <c:formatCode>General</c:formatCode>
                <c:ptCount val="4"/>
                <c:pt idx="0">
                  <c:v>29178838</c:v>
                </c:pt>
                <c:pt idx="1">
                  <c:v>28021467</c:v>
                </c:pt>
                <c:pt idx="2">
                  <c:v>3774174</c:v>
                </c:pt>
                <c:pt idx="3">
                  <c:v>3737117</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pt idx="3">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4"/>
          <c:min val="44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5C274E-2D18-44C5-A87D-C0DF679ED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35944D-5A0B-4CEC-AD22-5462C12DD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AE5A36-8F53-4B63-B55E-14DB3A916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03A845-73F4-4506-8033-CAFC8C5BD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ECDE81-0718-4E3A-A390-A2F32D181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F3EC4C-9E9D-41D4-84BD-73292DEEC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DE0685-A581-41A7-AFFE-103DE608FD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E2CC015-5E77-4E1C-AFEE-7BE0770A0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18.10490000000004</c:v>
                </c:pt>
                <c:pt idx="1">
                  <c:v>257.71620000000001</c:v>
                </c:pt>
                <c:pt idx="2">
                  <c:v>301.66059999999999</c:v>
                </c:pt>
                <c:pt idx="3">
                  <c:v>659.26099999999997</c:v>
                </c:pt>
                <c:pt idx="4">
                  <c:v>247.16579999999999</c:v>
                </c:pt>
                <c:pt idx="5">
                  <c:v>703.88639999999998</c:v>
                </c:pt>
                <c:pt idx="6">
                  <c:v>675.80600000000004</c:v>
                </c:pt>
                <c:pt idx="7">
                  <c:v>250.20859999999999</c:v>
                </c:pt>
                <c:pt idx="8">
                  <c:v>82.228999999999999</c:v>
                </c:pt>
              </c:numCache>
            </c:numRef>
          </c:xVal>
          <c:yVal>
            <c:numRef>
              <c:f>Sheet1!$B$2:$B$10</c:f>
              <c:numCache>
                <c:formatCode>General</c:formatCode>
                <c:ptCount val="9"/>
                <c:pt idx="0">
                  <c:v>4.8869999999999996</c:v>
                </c:pt>
                <c:pt idx="1">
                  <c:v>0.98499999999999999</c:v>
                </c:pt>
                <c:pt idx="2">
                  <c:v>1.3009999999999999</c:v>
                </c:pt>
                <c:pt idx="3">
                  <c:v>2.7919999999999998</c:v>
                </c:pt>
                <c:pt idx="4">
                  <c:v>0.45700000000000002</c:v>
                </c:pt>
                <c:pt idx="5">
                  <c:v>3.246</c:v>
                </c:pt>
                <c:pt idx="6">
                  <c:v>4.7869999999999999</c:v>
                </c:pt>
                <c:pt idx="7">
                  <c:v>0.433</c:v>
                </c:pt>
                <c:pt idx="8">
                  <c:v>0.255</c:v>
                </c:pt>
              </c:numCache>
            </c:numRef>
          </c:yVal>
          <c:bubbleSize>
            <c:numRef>
              <c:f>Sheet1!$C$2:$C$10</c:f>
              <c:numCache>
                <c:formatCode>General</c:formatCode>
                <c:ptCount val="9"/>
                <c:pt idx="0">
                  <c:v>293910122</c:v>
                </c:pt>
                <c:pt idx="1">
                  <c:v>293211158</c:v>
                </c:pt>
                <c:pt idx="2">
                  <c:v>158153722</c:v>
                </c:pt>
                <c:pt idx="3">
                  <c:v>134418054</c:v>
                </c:pt>
                <c:pt idx="4">
                  <c:v>100232388</c:v>
                </c:pt>
                <c:pt idx="5">
                  <c:v>93898444</c:v>
                </c:pt>
                <c:pt idx="6">
                  <c:v>92790193</c:v>
                </c:pt>
                <c:pt idx="7">
                  <c:v>90013296</c:v>
                </c:pt>
                <c:pt idx="8">
                  <c:v>75033793</c:v>
                </c:pt>
              </c:numCache>
            </c:numRef>
          </c:bubbleSize>
          <c:bubble3D val="0"/>
          <c:extLst>
            <c:ext xmlns:c15="http://schemas.microsoft.com/office/drawing/2012/chart" uri="{02D57815-91ED-43cb-92C2-25804820EDAC}">
              <c15:datalabelsRange>
                <c15:f>Sheet1!$E$2:$E$10</c15:f>
                <c15:dlblRangeCache>
                  <c:ptCount val="9"/>
                  <c:pt idx="0">
                    <c:v>Isdin</c:v>
                  </c:pt>
                  <c:pt idx="1">
                    <c:v>Nivea</c:v>
                  </c:pt>
                  <c:pt idx="2">
                    <c:v>Neutrogena</c:v>
                  </c:pt>
                  <c:pt idx="3">
                    <c:v>Avene</c:v>
                  </c:pt>
                  <c:pt idx="4">
                    <c:v>Hawaiian Tropic</c:v>
                  </c:pt>
                  <c:pt idx="5">
                    <c:v>Eucerin</c:v>
                  </c:pt>
                  <c:pt idx="6">
                    <c:v>La Roche-Posay</c:v>
                  </c:pt>
                  <c:pt idx="7">
                    <c:v>Banana Boat</c:v>
                  </c:pt>
                  <c:pt idx="8">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5"/>
          <c:min val="6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85D846-3F96-4903-938E-4E3B9F7F4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CEDD63-A5BB-470F-AF75-9593F218A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53598C-7DFA-4F0E-8B87-18EA972EE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248216C-7051-4743-8B6F-1BEED9427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CFE694-5800-4FE8-826B-4F06F60B1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CE6C64-B4F7-47C5-BC1A-1B5B509E2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15DDBEC-50EE-4024-988D-57755DB42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8673D96-509B-4F57-AE1A-18770AAB3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618.98260000000005</c:v>
                </c:pt>
                <c:pt idx="1">
                  <c:v>632.22529999999995</c:v>
                </c:pt>
                <c:pt idx="2">
                  <c:v>747.31100000000004</c:v>
                </c:pt>
                <c:pt idx="3">
                  <c:v>640.42579999999998</c:v>
                </c:pt>
                <c:pt idx="4">
                  <c:v>596.89359999999999</c:v>
                </c:pt>
                <c:pt idx="5">
                  <c:v>600.24639999999999</c:v>
                </c:pt>
                <c:pt idx="6">
                  <c:v>262.49939999999998</c:v>
                </c:pt>
              </c:numCache>
            </c:numRef>
          </c:xVal>
          <c:yVal>
            <c:numRef>
              <c:f>Sheet1!$B$2:$B$8</c:f>
              <c:numCache>
                <c:formatCode>General</c:formatCode>
                <c:ptCount val="7"/>
                <c:pt idx="0">
                  <c:v>0.96899999999999997</c:v>
                </c:pt>
                <c:pt idx="1">
                  <c:v>1.0069999999999999</c:v>
                </c:pt>
                <c:pt idx="2">
                  <c:v>1.323</c:v>
                </c:pt>
                <c:pt idx="3">
                  <c:v>1.002</c:v>
                </c:pt>
                <c:pt idx="4">
                  <c:v>0.93899999999999995</c:v>
                </c:pt>
                <c:pt idx="5">
                  <c:v>1.4910000000000001</c:v>
                </c:pt>
                <c:pt idx="6">
                  <c:v>0.51900000000000002</c:v>
                </c:pt>
              </c:numCache>
            </c:numRef>
          </c:yVal>
          <c:bubbleSize>
            <c:numRef>
              <c:f>Sheet1!$C$2:$C$8</c:f>
              <c:numCache>
                <c:formatCode>General</c:formatCode>
                <c:ptCount val="7"/>
                <c:pt idx="0">
                  <c:v>137352856</c:v>
                </c:pt>
                <c:pt idx="1">
                  <c:v>70816815</c:v>
                </c:pt>
                <c:pt idx="2">
                  <c:v>56541549</c:v>
                </c:pt>
                <c:pt idx="3">
                  <c:v>23466483</c:v>
                </c:pt>
                <c:pt idx="4">
                  <c:v>21588447</c:v>
                </c:pt>
                <c:pt idx="5">
                  <c:v>17920958</c:v>
                </c:pt>
                <c:pt idx="6">
                  <c:v>16499925</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pt idx="6">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7"/>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5D3240-DC86-4E43-A578-377AEA9D56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B529B7-2DE1-4DB8-A31C-9AF3AF960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CD23A5-2F0B-437D-80C7-EF66B6726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5B579E-5EBE-436C-91BA-3ECB953CB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7223AC-D1A8-47ED-B415-AE22723B6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13F5C2-4191-49A8-AFE6-ED9D11F37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163FB99-1ED9-4EE1-8154-D15A2507D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6CFDF00-2A29-47E2-AD01-CEB741A9A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74.19709999999998</c:v>
                </c:pt>
                <c:pt idx="1">
                  <c:v>632.08420000000001</c:v>
                </c:pt>
                <c:pt idx="2">
                  <c:v>632.31629999999996</c:v>
                </c:pt>
                <c:pt idx="3">
                  <c:v>582.01130000000001</c:v>
                </c:pt>
                <c:pt idx="4">
                  <c:v>663.69219999999996</c:v>
                </c:pt>
                <c:pt idx="5">
                  <c:v>752.56579999999997</c:v>
                </c:pt>
                <c:pt idx="6">
                  <c:v>511.63319999999999</c:v>
                </c:pt>
              </c:numCache>
            </c:numRef>
          </c:xVal>
          <c:yVal>
            <c:numRef>
              <c:f>Sheet1!$B$2:$B$8</c:f>
              <c:numCache>
                <c:formatCode>General</c:formatCode>
                <c:ptCount val="7"/>
                <c:pt idx="0">
                  <c:v>0.496</c:v>
                </c:pt>
                <c:pt idx="1">
                  <c:v>0.86399999999999999</c:v>
                </c:pt>
                <c:pt idx="2">
                  <c:v>4.2569999999999997</c:v>
                </c:pt>
                <c:pt idx="3">
                  <c:v>3.9220000000000002</c:v>
                </c:pt>
                <c:pt idx="4">
                  <c:v>4.1100000000000003</c:v>
                </c:pt>
                <c:pt idx="5">
                  <c:v>9.26</c:v>
                </c:pt>
                <c:pt idx="6">
                  <c:v>1.7290000000000001</c:v>
                </c:pt>
              </c:numCache>
            </c:numRef>
          </c:yVal>
          <c:bubbleSize>
            <c:numRef>
              <c:f>Sheet1!$C$2:$C$8</c:f>
              <c:numCache>
                <c:formatCode>General</c:formatCode>
                <c:ptCount val="7"/>
                <c:pt idx="0">
                  <c:v>121560916</c:v>
                </c:pt>
                <c:pt idx="1">
                  <c:v>106368391</c:v>
                </c:pt>
                <c:pt idx="2">
                  <c:v>81286153</c:v>
                </c:pt>
                <c:pt idx="3">
                  <c:v>57202400</c:v>
                </c:pt>
                <c:pt idx="4">
                  <c:v>22137452</c:v>
                </c:pt>
                <c:pt idx="5">
                  <c:v>12419594</c:v>
                </c:pt>
                <c:pt idx="6">
                  <c:v>583927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Heliocare</c:v>
                  </c:pt>
                  <c:pt idx="5">
                    <c:v>Photoderm</c:v>
                  </c:pt>
                  <c:pt idx="6">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3"/>
          <c:min val="2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00A5CD-B62A-4404-9A95-1ECE591F9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FADDD4-DF95-4A03-AFB8-24A7E87A4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8730BB8-EB03-4092-BF1C-027D6C998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432BB96-427C-4F20-997B-951702F46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7F97245-CB95-4BD9-A504-A2B80A064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1A98ABA-9E42-4346-A6D9-A45BABDB7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86131D4-7553-4F85-A01D-7F5C389E2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72CACA2-9D37-4F41-A9F6-EB7913B83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87.48429999999996</c:v>
                </c:pt>
                <c:pt idx="1">
                  <c:v>824.6857</c:v>
                </c:pt>
              </c:numCache>
            </c:numRef>
          </c:xVal>
          <c:yVal>
            <c:numRef>
              <c:f>Sheet1!$B$2:$B$3</c:f>
              <c:numCache>
                <c:formatCode>General</c:formatCode>
                <c:ptCount val="2"/>
                <c:pt idx="0">
                  <c:v>0.879</c:v>
                </c:pt>
                <c:pt idx="1">
                  <c:v>2.84</c:v>
                </c:pt>
              </c:numCache>
            </c:numRef>
          </c:yVal>
          <c:bubbleSize>
            <c:numRef>
              <c:f>Sheet1!$C$2:$C$3</c:f>
              <c:numCache>
                <c:formatCode>General</c:formatCode>
                <c:ptCount val="2"/>
                <c:pt idx="0">
                  <c:v>34448463</c:v>
                </c:pt>
                <c:pt idx="1">
                  <c:v>7277027</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0"/>
          <c:min val="5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60B5A8-C0CA-483A-B4A7-3AB464979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B83B3C-4197-4741-ACFB-AA47D1170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444F4E-03D4-4D92-8092-AF38617DA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9B4577-9CAA-419C-BFEB-C6846AC68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E3BA02-B8CB-407D-81F2-DCE5B1C68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BB40B2-A240-4D21-894D-F2EDDB5C6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49D79F-AE45-4851-9C3A-1F2EA5C33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122481-2747-4EA5-A816-6C025EF9C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39.16470000000001</c:v>
                </c:pt>
                <c:pt idx="1">
                  <c:v>209.1335</c:v>
                </c:pt>
                <c:pt idx="2">
                  <c:v>190.24889999999999</c:v>
                </c:pt>
                <c:pt idx="3">
                  <c:v>243.03049999999999</c:v>
                </c:pt>
                <c:pt idx="4">
                  <c:v>628.96190000000001</c:v>
                </c:pt>
                <c:pt idx="5">
                  <c:v>208.48599999999999</c:v>
                </c:pt>
                <c:pt idx="6">
                  <c:v>804.16989999999998</c:v>
                </c:pt>
                <c:pt idx="7">
                  <c:v>700.29290000000003</c:v>
                </c:pt>
                <c:pt idx="8">
                  <c:v>516.58640000000003</c:v>
                </c:pt>
              </c:numCache>
            </c:numRef>
          </c:xVal>
          <c:yVal>
            <c:numRef>
              <c:f>Sheet1!$B$2:$B$10</c:f>
              <c:numCache>
                <c:formatCode>General</c:formatCode>
                <c:ptCount val="9"/>
                <c:pt idx="0">
                  <c:v>0.89600000000000002</c:v>
                </c:pt>
                <c:pt idx="1">
                  <c:v>0.80800000000000005</c:v>
                </c:pt>
                <c:pt idx="2">
                  <c:v>0.83499999999999996</c:v>
                </c:pt>
                <c:pt idx="3">
                  <c:v>3.976</c:v>
                </c:pt>
                <c:pt idx="4">
                  <c:v>4.8499999999999996</c:v>
                </c:pt>
                <c:pt idx="5">
                  <c:v>2.6579999999999999</c:v>
                </c:pt>
                <c:pt idx="6">
                  <c:v>5.03</c:v>
                </c:pt>
                <c:pt idx="7">
                  <c:v>2.597</c:v>
                </c:pt>
                <c:pt idx="8">
                  <c:v>2.605</c:v>
                </c:pt>
              </c:numCache>
            </c:numRef>
          </c:yVal>
          <c:bubbleSize>
            <c:numRef>
              <c:f>Sheet1!$C$2:$C$10</c:f>
              <c:numCache>
                <c:formatCode>General</c:formatCode>
                <c:ptCount val="9"/>
                <c:pt idx="0">
                  <c:v>281719220</c:v>
                </c:pt>
                <c:pt idx="1">
                  <c:v>237967126</c:v>
                </c:pt>
                <c:pt idx="2">
                  <c:v>99365838</c:v>
                </c:pt>
                <c:pt idx="3">
                  <c:v>26487655</c:v>
                </c:pt>
                <c:pt idx="4">
                  <c:v>18058126</c:v>
                </c:pt>
                <c:pt idx="5">
                  <c:v>12989092</c:v>
                </c:pt>
                <c:pt idx="6">
                  <c:v>10496025</c:v>
                </c:pt>
                <c:pt idx="7">
                  <c:v>9653538</c:v>
                </c:pt>
                <c:pt idx="8">
                  <c:v>9608507</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Loreal Paris</c:v>
                  </c:pt>
                  <c:pt idx="4">
                    <c:v>Isdin</c:v>
                  </c:pt>
                  <c:pt idx="5">
                    <c:v>Beauty Care</c:v>
                  </c:pt>
                  <c:pt idx="6">
                    <c:v>La Roche-Posay</c:v>
                  </c:pt>
                  <c:pt idx="7">
                    <c:v>Eucerin</c:v>
                  </c:pt>
                  <c:pt idx="8">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65"/>
          <c:min val="15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FA4F29-41D4-4D84-A76B-2EAD373C6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CE55BD-3704-4E35-8DB9-91140B2C8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73E696-3274-450A-B497-FE327C334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C0B9AE-0B5A-4188-A566-A82DE0931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8535FA-B06C-4EE3-88E0-6E0492F1A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BD3A90A-1B7A-4188-A6AD-BF151A903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5746F45-4921-4C19-BCB6-2B36002B3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2589123-BA6A-4946-A2C9-815742255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33.92490000000001</c:v>
                </c:pt>
                <c:pt idx="1">
                  <c:v>636.27970000000005</c:v>
                </c:pt>
                <c:pt idx="2">
                  <c:v>654.95699999999999</c:v>
                </c:pt>
                <c:pt idx="3">
                  <c:v>300.2527</c:v>
                </c:pt>
                <c:pt idx="4">
                  <c:v>417.04509999999999</c:v>
                </c:pt>
              </c:numCache>
            </c:numRef>
          </c:xVal>
          <c:yVal>
            <c:numRef>
              <c:f>Sheet1!$B$2:$B$6</c:f>
              <c:numCache>
                <c:formatCode>General</c:formatCode>
                <c:ptCount val="5"/>
                <c:pt idx="0">
                  <c:v>0.89700000000000002</c:v>
                </c:pt>
                <c:pt idx="1">
                  <c:v>1.6910000000000001</c:v>
                </c:pt>
                <c:pt idx="2">
                  <c:v>2.883</c:v>
                </c:pt>
                <c:pt idx="3">
                  <c:v>3.0939999999999999</c:v>
                </c:pt>
                <c:pt idx="4">
                  <c:v>5.335</c:v>
                </c:pt>
              </c:numCache>
            </c:numRef>
          </c:yVal>
          <c:bubbleSize>
            <c:numRef>
              <c:f>Sheet1!$C$2:$C$6</c:f>
              <c:numCache>
                <c:formatCode>General</c:formatCode>
                <c:ptCount val="5"/>
                <c:pt idx="0">
                  <c:v>92691787</c:v>
                </c:pt>
                <c:pt idx="1">
                  <c:v>6581041</c:v>
                </c:pt>
                <c:pt idx="2">
                  <c:v>4375768</c:v>
                </c:pt>
                <c:pt idx="3">
                  <c:v>4101452</c:v>
                </c:pt>
                <c:pt idx="4">
                  <c:v>2959352</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La Roche-Posay</c:v>
                  </c:pt>
                  <c:pt idx="3">
                    <c:v>Eclipsol</c:v>
                  </c:pt>
                  <c:pt idx="4">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6"/>
          <c:min val="18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B114D9-9D83-4FE5-9031-F52C9F59E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FC4691-15AE-474F-8779-8509EC2EA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0B403E-7454-4821-818E-DEAEDA188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8580D6-02A4-4EB9-AB8A-02829FA77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703896-76A6-4A7A-BBDD-4965638A6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B3A1E3-3190-49AF-A2CD-B40C97CA56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2C01A33-7C17-4BB2-876E-7F51ACB83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2E14CAB-3083-4A75-8A13-3CF8AD127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21.58029999999997</c:v>
                </c:pt>
                <c:pt idx="1">
                  <c:v>605.30100000000004</c:v>
                </c:pt>
                <c:pt idx="2">
                  <c:v>681.07219999999995</c:v>
                </c:pt>
                <c:pt idx="3">
                  <c:v>711.79589999999996</c:v>
                </c:pt>
                <c:pt idx="4">
                  <c:v>284.08139999999997</c:v>
                </c:pt>
                <c:pt idx="5">
                  <c:v>629.3922</c:v>
                </c:pt>
                <c:pt idx="6">
                  <c:v>251.63939999999999</c:v>
                </c:pt>
                <c:pt idx="7">
                  <c:v>742.15970000000004</c:v>
                </c:pt>
                <c:pt idx="8">
                  <c:v>194.42529999999999</c:v>
                </c:pt>
              </c:numCache>
            </c:numRef>
          </c:xVal>
          <c:yVal>
            <c:numRef>
              <c:f>Sheet1!$B$2:$B$10</c:f>
              <c:numCache>
                <c:formatCode>General</c:formatCode>
                <c:ptCount val="9"/>
                <c:pt idx="0">
                  <c:v>1.6619999999999999</c:v>
                </c:pt>
                <c:pt idx="1">
                  <c:v>2.8319999999999999</c:v>
                </c:pt>
                <c:pt idx="2">
                  <c:v>2.4380000000000002</c:v>
                </c:pt>
                <c:pt idx="3">
                  <c:v>2.125</c:v>
                </c:pt>
                <c:pt idx="4">
                  <c:v>0.52900000000000003</c:v>
                </c:pt>
                <c:pt idx="5">
                  <c:v>3.0310000000000001</c:v>
                </c:pt>
                <c:pt idx="6">
                  <c:v>0.31</c:v>
                </c:pt>
                <c:pt idx="7">
                  <c:v>2.1539999999999999</c:v>
                </c:pt>
                <c:pt idx="8">
                  <c:v>0.30099999999999999</c:v>
                </c:pt>
              </c:numCache>
            </c:numRef>
          </c:yVal>
          <c:bubbleSize>
            <c:numRef>
              <c:f>Sheet1!$C$2:$C$10</c:f>
              <c:numCache>
                <c:formatCode>General</c:formatCode>
                <c:ptCount val="9"/>
                <c:pt idx="0">
                  <c:v>452020654</c:v>
                </c:pt>
                <c:pt idx="1">
                  <c:v>303187392</c:v>
                </c:pt>
                <c:pt idx="2">
                  <c:v>204970054</c:v>
                </c:pt>
                <c:pt idx="3">
                  <c:v>196500511</c:v>
                </c:pt>
                <c:pt idx="4">
                  <c:v>188092032</c:v>
                </c:pt>
                <c:pt idx="5">
                  <c:v>105982088</c:v>
                </c:pt>
                <c:pt idx="6">
                  <c:v>104768549</c:v>
                </c:pt>
                <c:pt idx="7">
                  <c:v>99522130</c:v>
                </c:pt>
                <c:pt idx="8">
                  <c:v>99479662</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ucerin</c:v>
                  </c:pt>
                  <c:pt idx="3">
                    <c:v>Avene</c:v>
                  </c:pt>
                  <c:pt idx="4">
                    <c:v>Nivea</c:v>
                  </c:pt>
                  <c:pt idx="5">
                    <c:v>Heliocare</c:v>
                  </c:pt>
                  <c:pt idx="6">
                    <c:v>Hawaiian Tropic</c:v>
                  </c:pt>
                  <c:pt idx="7">
                    <c:v>Photoderm</c:v>
                  </c:pt>
                  <c:pt idx="8">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1"/>
          <c:min val="1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C3222A-88BD-4986-B29B-4077B7EC8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040CBEA-2F28-4692-98CB-56A733392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7D4C115-8571-4F84-B45F-EB5E5BBF90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FBB6B87-2DD4-4A97-A918-391BB6C7F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0EC580F-1783-4B3E-AAEB-C9E893D38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EDF2DA0-5E44-4BCA-AC60-DF2E77D6A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38841E3-B65D-4A75-B133-2343138A2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540B7F8-5403-4BE0-827C-B65F79184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7.71950000000001</c:v>
                </c:pt>
              </c:numCache>
            </c:numRef>
          </c:xVal>
          <c:yVal>
            <c:numRef>
              <c:f>Sheet1!$B$2:$B$2</c:f>
              <c:numCache>
                <c:formatCode>General</c:formatCode>
                <c:ptCount val="1"/>
                <c:pt idx="0">
                  <c:v>1</c:v>
                </c:pt>
              </c:numCache>
            </c:numRef>
          </c:yVal>
          <c:bubbleSize>
            <c:numRef>
              <c:f>Sheet1!$C$2:$C$2</c:f>
              <c:numCache>
                <c:formatCode>General</c:formatCode>
                <c:ptCount val="1"/>
                <c:pt idx="0">
                  <c:v>3235646</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9"/>
          <c:min val="16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9D6640-E850-44D4-B558-8B5F74B8F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2F1FF30-854A-4CD6-90C4-6E98CB1F2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CF013C1-5919-49C6-95D8-8AEF10216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C21492E-5F27-4E04-A720-750D52541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D304D90-BD2F-4219-B3F8-8C735C1D8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DA1C99F-C401-46F8-ACF6-D48192802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D13A0C-5967-4287-8713-5778C9A68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16CD722-E6E0-4B94-B085-77188A0D6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4.5033</c:v>
                </c:pt>
              </c:numCache>
            </c:numRef>
          </c:xVal>
          <c:yVal>
            <c:numRef>
              <c:f>Sheet1!$B$2:$B$2</c:f>
              <c:numCache>
                <c:formatCode>General</c:formatCode>
                <c:ptCount val="1"/>
                <c:pt idx="0">
                  <c:v>0.92800000000000005</c:v>
                </c:pt>
              </c:numCache>
            </c:numRef>
          </c:yVal>
          <c:bubbleSize>
            <c:numRef>
              <c:f>Sheet1!$C$2:$C$2</c:f>
              <c:numCache>
                <c:formatCode>General</c:formatCode>
                <c:ptCount val="1"/>
                <c:pt idx="0">
                  <c:v>13053599</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E8A314-E7E2-48D0-992C-7E38C37C1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1ABA07-222D-41D5-A6E6-42D40C72D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882B3E-DA1E-40B9-8177-C147F03CE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4DDD99-6D0C-4F5B-A37E-BE668E9CD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F01775-8555-4AA8-8BB9-2D4BC50D5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AFD7CB-477F-4E2A-BBA7-3BCA326F2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C8BD91E-35A5-4676-8406-4FFB9B67A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1766A58-516A-4574-AB3B-B7DB9EB18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738.86839999999995</c:v>
                </c:pt>
                <c:pt idx="1">
                  <c:v>1043.2023999999999</c:v>
                </c:pt>
                <c:pt idx="2">
                  <c:v>252.8441</c:v>
                </c:pt>
                <c:pt idx="3">
                  <c:v>360.13420000000002</c:v>
                </c:pt>
                <c:pt idx="4">
                  <c:v>636.08339999999998</c:v>
                </c:pt>
                <c:pt idx="5">
                  <c:v>321.74520000000001</c:v>
                </c:pt>
              </c:numCache>
            </c:numRef>
          </c:xVal>
          <c:yVal>
            <c:numRef>
              <c:f>Sheet1!$B$2:$B$7</c:f>
              <c:numCache>
                <c:formatCode>General</c:formatCode>
                <c:ptCount val="6"/>
                <c:pt idx="0">
                  <c:v>1.224</c:v>
                </c:pt>
                <c:pt idx="1">
                  <c:v>2.4550000000000001</c:v>
                </c:pt>
                <c:pt idx="2">
                  <c:v>0.27400000000000002</c:v>
                </c:pt>
                <c:pt idx="3">
                  <c:v>0.98799999999999999</c:v>
                </c:pt>
                <c:pt idx="4">
                  <c:v>2.3290000000000002</c:v>
                </c:pt>
                <c:pt idx="5">
                  <c:v>1.0740000000000001</c:v>
                </c:pt>
              </c:numCache>
            </c:numRef>
          </c:yVal>
          <c:bubbleSize>
            <c:numRef>
              <c:f>Sheet1!$C$2:$C$7</c:f>
              <c:numCache>
                <c:formatCode>General</c:formatCode>
                <c:ptCount val="6"/>
                <c:pt idx="0">
                  <c:v>23557341</c:v>
                </c:pt>
                <c:pt idx="1">
                  <c:v>4051798</c:v>
                </c:pt>
                <c:pt idx="2">
                  <c:v>3012132</c:v>
                </c:pt>
                <c:pt idx="3">
                  <c:v>2739181</c:v>
                </c:pt>
                <c:pt idx="4">
                  <c:v>2243466</c:v>
                </c:pt>
                <c:pt idx="5">
                  <c:v>1190779</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Banana Boat</c:v>
                  </c:pt>
                  <c:pt idx="3">
                    <c:v>Australian Gold</c:v>
                  </c:pt>
                  <c:pt idx="4">
                    <c:v>Genove</c:v>
                  </c:pt>
                  <c:pt idx="5">
                    <c:v>Ocean Po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52"/>
          <c:min val="20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7B9D60-9872-472F-9FC2-4C8DE53B8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DB2A41-3C96-40F6-9AE8-399A9D107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89E513-26BA-4D22-90A2-6B2D1D0FE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4570E1D-A599-4A6A-B9A5-601929F8D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80984B1-964D-48D7-B2D0-1EE3273F1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6A1472E-9CD7-4509-AE6E-0C1B72EF8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7B911D7-F31A-4D16-923E-BB71BFF61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D81D94-E38C-4C0D-89F3-786C9EBC1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480.52710000000002</c:v>
                </c:pt>
                <c:pt idx="1">
                  <c:v>555.99919999999997</c:v>
                </c:pt>
                <c:pt idx="2">
                  <c:v>351.44110000000001</c:v>
                </c:pt>
              </c:numCache>
            </c:numRef>
          </c:xVal>
          <c:yVal>
            <c:numRef>
              <c:f>Sheet1!$B$2:$B$4</c:f>
              <c:numCache>
                <c:formatCode>General</c:formatCode>
                <c:ptCount val="3"/>
                <c:pt idx="0">
                  <c:v>1.476</c:v>
                </c:pt>
                <c:pt idx="1">
                  <c:v>0.68400000000000005</c:v>
                </c:pt>
                <c:pt idx="2">
                  <c:v>0.26</c:v>
                </c:pt>
              </c:numCache>
            </c:numRef>
          </c:yVal>
          <c:bubbleSize>
            <c:numRef>
              <c:f>Sheet1!$C$2:$C$4</c:f>
              <c:numCache>
                <c:formatCode>General</c:formatCode>
                <c:ptCount val="3"/>
                <c:pt idx="0">
                  <c:v>35235613</c:v>
                </c:pt>
                <c:pt idx="1">
                  <c:v>12520547</c:v>
                </c:pt>
                <c:pt idx="2">
                  <c:v>2155740</c:v>
                </c:pt>
              </c:numCache>
            </c:numRef>
          </c:bubbleSize>
          <c:bubble3D val="0"/>
          <c:extLst>
            <c:ext xmlns:c15="http://schemas.microsoft.com/office/drawing/2012/chart" uri="{02D57815-91ED-43cb-92C2-25804820EDAC}">
              <c15:datalabelsRange>
                <c15:f>Sheet1!$E$2:$E$10</c15:f>
                <c15:dlblRangeCache>
                  <c:ptCount val="9"/>
                  <c:pt idx="0">
                    <c:v>Isdin</c:v>
                  </c:pt>
                  <c:pt idx="1">
                    <c:v>Heliocare</c:v>
                  </c:pt>
                  <c:pt idx="2">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7"/>
          <c:min val="28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BABB2F-DFE7-43C0-A90E-26408C2C1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C90830-3BB6-4BD4-990E-B8930901A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796A64-4E1F-408E-B085-CFDEE0632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13EBE1-0736-4CD8-88AF-9429A64B8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9E8DF0-8826-4441-89B5-9B5D7ACEA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499BF9F-73CD-43F9-92B8-B95FE232E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24884BF-4C5C-4F4E-9343-2AD4CEFCB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3F7A734-D4FC-4FFC-A370-C919E432E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74.96820000000002</c:v>
                </c:pt>
                <c:pt idx="1">
                  <c:v>652.13699999999994</c:v>
                </c:pt>
                <c:pt idx="2">
                  <c:v>698.27750000000003</c:v>
                </c:pt>
                <c:pt idx="3">
                  <c:v>760.58529999999996</c:v>
                </c:pt>
                <c:pt idx="4">
                  <c:v>776.75390000000004</c:v>
                </c:pt>
              </c:numCache>
            </c:numRef>
          </c:xVal>
          <c:yVal>
            <c:numRef>
              <c:f>Sheet1!$B$2:$B$6</c:f>
              <c:numCache>
                <c:formatCode>General</c:formatCode>
                <c:ptCount val="5"/>
                <c:pt idx="0">
                  <c:v>1.5189999999999999</c:v>
                </c:pt>
                <c:pt idx="1">
                  <c:v>0.73799999999999999</c:v>
                </c:pt>
                <c:pt idx="2">
                  <c:v>0.79</c:v>
                </c:pt>
                <c:pt idx="3">
                  <c:v>4.2210000000000001</c:v>
                </c:pt>
                <c:pt idx="4">
                  <c:v>0.95699999999999996</c:v>
                </c:pt>
              </c:numCache>
            </c:numRef>
          </c:yVal>
          <c:bubbleSize>
            <c:numRef>
              <c:f>Sheet1!$C$2:$C$6</c:f>
              <c:numCache>
                <c:formatCode>General</c:formatCode>
                <c:ptCount val="5"/>
                <c:pt idx="0">
                  <c:v>22969979</c:v>
                </c:pt>
                <c:pt idx="1">
                  <c:v>21728553</c:v>
                </c:pt>
                <c:pt idx="2">
                  <c:v>3737181</c:v>
                </c:pt>
                <c:pt idx="3">
                  <c:v>2341842</c:v>
                </c:pt>
                <c:pt idx="4">
                  <c:v>602761</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Heliocare</c:v>
                  </c:pt>
                  <c:pt idx="3">
                    <c:v>Vichy</c:v>
                  </c:pt>
                  <c:pt idx="4">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32"/>
          <c:min val="4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2E4592-4C26-4672-ADBC-E77B867C8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92FCA0-BCB4-41C9-8C1F-230F5E6E12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131479-E1D5-4D56-97E6-ED2D2A9D4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F536A1-DE21-4974-BC19-991D3392E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C4421BB-E92A-492C-BF52-D0F63E222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DC5CE8-5C25-49C0-95F9-F2D4BE2FE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A1009E2-3AA0-4267-BC0C-461BDEF3D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73EEEE-0AD7-4E9B-9482-5D7572DF3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26.56700000000001</c:v>
                </c:pt>
                <c:pt idx="1">
                  <c:v>681.67589999999996</c:v>
                </c:pt>
                <c:pt idx="2">
                  <c:v>684.12149999999997</c:v>
                </c:pt>
                <c:pt idx="3">
                  <c:v>728.54459999999995</c:v>
                </c:pt>
                <c:pt idx="4">
                  <c:v>308.18990000000002</c:v>
                </c:pt>
                <c:pt idx="5">
                  <c:v>322.411</c:v>
                </c:pt>
                <c:pt idx="6">
                  <c:v>627.55100000000004</c:v>
                </c:pt>
                <c:pt idx="7">
                  <c:v>745.46540000000005</c:v>
                </c:pt>
                <c:pt idx="8">
                  <c:v>778.24239999999998</c:v>
                </c:pt>
              </c:numCache>
            </c:numRef>
          </c:xVal>
          <c:yVal>
            <c:numRef>
              <c:f>Sheet1!$B$2:$B$10</c:f>
              <c:numCache>
                <c:formatCode>General</c:formatCode>
                <c:ptCount val="9"/>
                <c:pt idx="0">
                  <c:v>2.653</c:v>
                </c:pt>
                <c:pt idx="1">
                  <c:v>1.5669999999999999</c:v>
                </c:pt>
                <c:pt idx="2">
                  <c:v>2.64</c:v>
                </c:pt>
                <c:pt idx="3">
                  <c:v>1.7809999999999999</c:v>
                </c:pt>
                <c:pt idx="4">
                  <c:v>0.72099999999999997</c:v>
                </c:pt>
                <c:pt idx="5">
                  <c:v>0.76</c:v>
                </c:pt>
                <c:pt idx="6">
                  <c:v>2.706</c:v>
                </c:pt>
                <c:pt idx="7">
                  <c:v>4.8849999999999998</c:v>
                </c:pt>
                <c:pt idx="8">
                  <c:v>1.1619999999999999</c:v>
                </c:pt>
              </c:numCache>
            </c:numRef>
          </c:yVal>
          <c:bubbleSize>
            <c:numRef>
              <c:f>Sheet1!$C$2:$C$10</c:f>
              <c:numCache>
                <c:formatCode>General</c:formatCode>
                <c:ptCount val="9"/>
                <c:pt idx="0">
                  <c:v>236836703</c:v>
                </c:pt>
                <c:pt idx="1">
                  <c:v>115896495</c:v>
                </c:pt>
                <c:pt idx="2">
                  <c:v>79984060</c:v>
                </c:pt>
                <c:pt idx="3">
                  <c:v>77229369</c:v>
                </c:pt>
                <c:pt idx="4">
                  <c:v>76293336</c:v>
                </c:pt>
                <c:pt idx="5">
                  <c:v>58967363</c:v>
                </c:pt>
                <c:pt idx="6">
                  <c:v>44488346</c:v>
                </c:pt>
                <c:pt idx="7">
                  <c:v>42071086</c:v>
                </c:pt>
                <c:pt idx="8">
                  <c:v>39507474</c:v>
                </c:pt>
              </c:numCache>
            </c:numRef>
          </c:bubbleSize>
          <c:bubble3D val="0"/>
          <c:extLst>
            <c:ext xmlns:c15="http://schemas.microsoft.com/office/drawing/2012/chart" uri="{02D57815-91ED-43cb-92C2-25804820EDAC}">
              <c15:datalabelsRange>
                <c15:f>Sheet1!$E$2:$E$10</c15:f>
                <c15:dlblRangeCache>
                  <c:ptCount val="9"/>
                  <c:pt idx="0">
                    <c:v>Isdin</c:v>
                  </c:pt>
                  <c:pt idx="1">
                    <c:v>Avene</c:v>
                  </c:pt>
                  <c:pt idx="2">
                    <c:v>La Roche-Posay</c:v>
                  </c:pt>
                  <c:pt idx="3">
                    <c:v>Eucerin</c:v>
                  </c:pt>
                  <c:pt idx="4">
                    <c:v>Nivea</c:v>
                  </c:pt>
                  <c:pt idx="5">
                    <c:v>Neutrogena</c:v>
                  </c:pt>
                  <c:pt idx="6">
                    <c:v>Heliocare</c:v>
                  </c:pt>
                  <c:pt idx="7">
                    <c:v>Photoderm</c:v>
                  </c:pt>
                  <c:pt idx="8">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34"/>
          <c:min val="24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686B02-17A3-4BA9-88F8-8665193C1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39A8F8-941F-4D14-88EC-8944C69E5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4B4008-8F4A-49E8-9182-E042ADBF3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3A1E90-9A1B-4E08-BBC4-59C8316CD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AC1A0A-93AE-4859-A609-0ECFC6A7C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A9D6CE-DC58-4A1F-B631-7517BF7D0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581851-8DFA-43E4-A2D2-BBF8917FC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B797E77-7C51-4C72-9868-D4DA63EC3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629.39239999999995</c:v>
                </c:pt>
                <c:pt idx="1">
                  <c:v>646.77200000000005</c:v>
                </c:pt>
                <c:pt idx="2">
                  <c:v>772.65</c:v>
                </c:pt>
                <c:pt idx="3">
                  <c:v>639.43899999999996</c:v>
                </c:pt>
                <c:pt idx="4">
                  <c:v>619.71360000000004</c:v>
                </c:pt>
                <c:pt idx="5">
                  <c:v>658.16420000000005</c:v>
                </c:pt>
                <c:pt idx="6">
                  <c:v>313.48149999999998</c:v>
                </c:pt>
              </c:numCache>
            </c:numRef>
          </c:xVal>
          <c:yVal>
            <c:numRef>
              <c:f>Sheet1!$B$2:$B$8</c:f>
              <c:numCache>
                <c:formatCode>General</c:formatCode>
                <c:ptCount val="7"/>
                <c:pt idx="0">
                  <c:v>0.92800000000000005</c:v>
                </c:pt>
                <c:pt idx="1">
                  <c:v>0.97399999999999998</c:v>
                </c:pt>
                <c:pt idx="2">
                  <c:v>1.2689999999999999</c:v>
                </c:pt>
                <c:pt idx="3">
                  <c:v>0.93799999999999994</c:v>
                </c:pt>
                <c:pt idx="4">
                  <c:v>0.92200000000000004</c:v>
                </c:pt>
                <c:pt idx="5">
                  <c:v>1.468</c:v>
                </c:pt>
                <c:pt idx="6">
                  <c:v>0.59599999999999997</c:v>
                </c:pt>
              </c:numCache>
            </c:numRef>
          </c:yVal>
          <c:bubbleSize>
            <c:numRef>
              <c:f>Sheet1!$C$2:$C$8</c:f>
              <c:numCache>
                <c:formatCode>General</c:formatCode>
                <c:ptCount val="7"/>
                <c:pt idx="0">
                  <c:v>120217088</c:v>
                </c:pt>
                <c:pt idx="1">
                  <c:v>55895332</c:v>
                </c:pt>
                <c:pt idx="2">
                  <c:v>51773732</c:v>
                </c:pt>
                <c:pt idx="3">
                  <c:v>23370856</c:v>
                </c:pt>
                <c:pt idx="4">
                  <c:v>16949787</c:v>
                </c:pt>
                <c:pt idx="5">
                  <c:v>15586645</c:v>
                </c:pt>
                <c:pt idx="6">
                  <c:v>5359907</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pt idx="6">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27"/>
          <c:min val="25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9FE838-161C-41D8-A5AC-A177D5317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E00033-71EE-46A4-8FAD-26ED03927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9D92CF-0ABA-4150-8934-D8A88A206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001C31-3733-428B-94F9-A3DE399722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1CD4988-CAE5-42B8-A1A7-A601B3BC2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F3D0FC-52BF-4CF1-8A69-BD0D7102B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BE44A7-B9C8-433F-99F5-1F7DC2CF5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4E4BA32-78FD-444D-9530-33C383C3F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640.50599999999997</c:v>
                </c:pt>
                <c:pt idx="1">
                  <c:v>648.19640000000004</c:v>
                </c:pt>
                <c:pt idx="2">
                  <c:v>586.74339999999995</c:v>
                </c:pt>
                <c:pt idx="3">
                  <c:v>337.60390000000001</c:v>
                </c:pt>
                <c:pt idx="4">
                  <c:v>661.21299999999997</c:v>
                </c:pt>
                <c:pt idx="5">
                  <c:v>786.29650000000004</c:v>
                </c:pt>
                <c:pt idx="6">
                  <c:v>523.94230000000005</c:v>
                </c:pt>
              </c:numCache>
            </c:numRef>
          </c:xVal>
          <c:yVal>
            <c:numRef>
              <c:f>Sheet1!$B$2:$B$8</c:f>
              <c:numCache>
                <c:formatCode>General</c:formatCode>
                <c:ptCount val="7"/>
                <c:pt idx="0">
                  <c:v>0.58799999999999997</c:v>
                </c:pt>
                <c:pt idx="1">
                  <c:v>2.94</c:v>
                </c:pt>
                <c:pt idx="2">
                  <c:v>2.6509999999999998</c:v>
                </c:pt>
                <c:pt idx="3">
                  <c:v>0.41199999999999998</c:v>
                </c:pt>
                <c:pt idx="4">
                  <c:v>2.6960000000000002</c:v>
                </c:pt>
                <c:pt idx="5">
                  <c:v>6.0030000000000001</c:v>
                </c:pt>
                <c:pt idx="6">
                  <c:v>1.18</c:v>
                </c:pt>
              </c:numCache>
            </c:numRef>
          </c:yVal>
          <c:bubbleSize>
            <c:numRef>
              <c:f>Sheet1!$C$2:$C$8</c:f>
              <c:numCache>
                <c:formatCode>General</c:formatCode>
                <c:ptCount val="7"/>
                <c:pt idx="0">
                  <c:v>88726737</c:v>
                </c:pt>
                <c:pt idx="1">
                  <c:v>69410170</c:v>
                </c:pt>
                <c:pt idx="2">
                  <c:v>51697378</c:v>
                </c:pt>
                <c:pt idx="3">
                  <c:v>30352613</c:v>
                </c:pt>
                <c:pt idx="4">
                  <c:v>21966819</c:v>
                </c:pt>
                <c:pt idx="5">
                  <c:v>10846174</c:v>
                </c:pt>
                <c:pt idx="6">
                  <c:v>4515335</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Nivea</c:v>
                  </c:pt>
                  <c:pt idx="4">
                    <c:v>Heliocare</c:v>
                  </c:pt>
                  <c:pt idx="5">
                    <c:v>Photoderm</c:v>
                  </c:pt>
                  <c:pt idx="6">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4"/>
          <c:min val="2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7FFE79-B081-443D-B10D-23E3D9265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C3D898-7DF8-4964-A386-C5EF2E004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F1FA04D-77DD-4397-B39D-F17CB41AE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9C76F1D-E4F9-478D-B58E-87A8F1A40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4778451-DBBC-438A-8D91-B12EF93F4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FEA5384-8159-4AAA-99F4-85BAD62C9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9B2ED9D-1F85-4FD6-B705-AE27C01AA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B469F0-B258-486C-94CC-C5E02F379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93.9</c:v>
                </c:pt>
                <c:pt idx="1">
                  <c:v>831.80759999999998</c:v>
                </c:pt>
              </c:numCache>
            </c:numRef>
          </c:xVal>
          <c:yVal>
            <c:numRef>
              <c:f>Sheet1!$B$2:$B$3</c:f>
              <c:numCache>
                <c:formatCode>General</c:formatCode>
                <c:ptCount val="2"/>
                <c:pt idx="0">
                  <c:v>0.88400000000000001</c:v>
                </c:pt>
                <c:pt idx="1">
                  <c:v>2.4860000000000002</c:v>
                </c:pt>
              </c:numCache>
            </c:numRef>
          </c:yVal>
          <c:bubbleSize>
            <c:numRef>
              <c:f>Sheet1!$C$2:$C$3</c:f>
              <c:numCache>
                <c:formatCode>General</c:formatCode>
                <c:ptCount val="2"/>
                <c:pt idx="0">
                  <c:v>31886093</c:v>
                </c:pt>
                <c:pt idx="1">
                  <c:v>6997997</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8"/>
          <c:min val="55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8998CE-244D-4A81-95EF-9498AF00C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9776EA-E3BD-490D-B46A-8F57CFDBD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615E94-577D-478F-BF8A-1B4C24EEF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7C6A49-2E15-42B7-A854-87B466407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281402-6048-44BF-847E-3279904F7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5605AF-C810-4E48-9B52-0FBD3282D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D76712-B9CF-4A4A-AE37-04E1B28CF2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CE51E3-802A-4C2C-B5FC-00CE6CF11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7.43469999999999</c:v>
                </c:pt>
                <c:pt idx="1">
                  <c:v>243.1917</c:v>
                </c:pt>
                <c:pt idx="2">
                  <c:v>174.00470000000001</c:v>
                </c:pt>
                <c:pt idx="3">
                  <c:v>637.64200000000005</c:v>
                </c:pt>
                <c:pt idx="4">
                  <c:v>877.44539999999995</c:v>
                </c:pt>
                <c:pt idx="5">
                  <c:v>614.92139999999995</c:v>
                </c:pt>
                <c:pt idx="6">
                  <c:v>524.34870000000001</c:v>
                </c:pt>
                <c:pt idx="7">
                  <c:v>231.5067</c:v>
                </c:pt>
                <c:pt idx="8">
                  <c:v>797.26059999999995</c:v>
                </c:pt>
              </c:numCache>
            </c:numRef>
          </c:xVal>
          <c:yVal>
            <c:numRef>
              <c:f>Sheet1!$B$2:$B$10</c:f>
              <c:numCache>
                <c:formatCode>General</c:formatCode>
                <c:ptCount val="9"/>
                <c:pt idx="0">
                  <c:v>0.77900000000000003</c:v>
                </c:pt>
                <c:pt idx="1">
                  <c:v>0.66400000000000003</c:v>
                </c:pt>
                <c:pt idx="2">
                  <c:v>0.70299999999999996</c:v>
                </c:pt>
                <c:pt idx="3">
                  <c:v>3.8740000000000001</c:v>
                </c:pt>
                <c:pt idx="4">
                  <c:v>4.2080000000000002</c:v>
                </c:pt>
                <c:pt idx="5">
                  <c:v>1.23</c:v>
                </c:pt>
                <c:pt idx="6">
                  <c:v>2.0019999999999998</c:v>
                </c:pt>
                <c:pt idx="7">
                  <c:v>3.0139999999999998</c:v>
                </c:pt>
                <c:pt idx="8">
                  <c:v>2.2210000000000001</c:v>
                </c:pt>
              </c:numCache>
            </c:numRef>
          </c:yVal>
          <c:bubbleSize>
            <c:numRef>
              <c:f>Sheet1!$C$2:$C$10</c:f>
              <c:numCache>
                <c:formatCode>General</c:formatCode>
                <c:ptCount val="9"/>
                <c:pt idx="0">
                  <c:v>75533658</c:v>
                </c:pt>
                <c:pt idx="1">
                  <c:v>63653251</c:v>
                </c:pt>
                <c:pt idx="2">
                  <c:v>35286075</c:v>
                </c:pt>
                <c:pt idx="3">
                  <c:v>13405148</c:v>
                </c:pt>
                <c:pt idx="4">
                  <c:v>8344506</c:v>
                </c:pt>
                <c:pt idx="5">
                  <c:v>7937406</c:v>
                </c:pt>
                <c:pt idx="6">
                  <c:v>7648674</c:v>
                </c:pt>
                <c:pt idx="7">
                  <c:v>6738929</c:v>
                </c:pt>
                <c:pt idx="8">
                  <c:v>617159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La Roche-Posay</c:v>
                  </c:pt>
                  <c:pt idx="5">
                    <c:v>Avene</c:v>
                  </c:pt>
                  <c:pt idx="6">
                    <c:v>Cetaphil</c:v>
                  </c:pt>
                  <c:pt idx="7">
                    <c:v>Loreal Paris</c:v>
                  </c:pt>
                  <c:pt idx="8">
                    <c:v>Eucer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53"/>
          <c:min val="13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A60BF2-9BE1-4F3C-97AE-359ED19FD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12784F-8566-4392-B7FC-BD5B731FD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4D351E-FB73-4D4D-BB18-C5A00B606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7C2859-8FFD-4B88-8F5D-C73F77404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A7B0AF-4BCF-4995-9B26-53EB7C989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63A3AC-8E29-4D1F-90CD-B9BE7CBF9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288014-768D-4416-8598-D77640552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E04D999-58D6-4E7B-B313-4D92B4D7C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6.23769999999999</c:v>
                </c:pt>
                <c:pt idx="1">
                  <c:v>451.89089999999999</c:v>
                </c:pt>
                <c:pt idx="2">
                  <c:v>209.54249999999999</c:v>
                </c:pt>
                <c:pt idx="3">
                  <c:v>158.24529999999999</c:v>
                </c:pt>
                <c:pt idx="4">
                  <c:v>80.124899999999997</c:v>
                </c:pt>
                <c:pt idx="5">
                  <c:v>96.877300000000005</c:v>
                </c:pt>
                <c:pt idx="6">
                  <c:v>291.05380000000002</c:v>
                </c:pt>
              </c:numCache>
            </c:numRef>
          </c:xVal>
          <c:yVal>
            <c:numRef>
              <c:f>Sheet1!$B$2:$B$8</c:f>
              <c:numCache>
                <c:formatCode>General</c:formatCode>
                <c:ptCount val="7"/>
                <c:pt idx="0">
                  <c:v>1.33</c:v>
                </c:pt>
                <c:pt idx="1">
                  <c:v>3.661</c:v>
                </c:pt>
                <c:pt idx="2">
                  <c:v>0.90200000000000002</c:v>
                </c:pt>
                <c:pt idx="3">
                  <c:v>0.66800000000000004</c:v>
                </c:pt>
                <c:pt idx="4">
                  <c:v>0.49399999999999999</c:v>
                </c:pt>
                <c:pt idx="5">
                  <c:v>0.61699999999999999</c:v>
                </c:pt>
                <c:pt idx="6">
                  <c:v>1.7809999999999999</c:v>
                </c:pt>
              </c:numCache>
            </c:numRef>
          </c:yVal>
          <c:bubbleSize>
            <c:numRef>
              <c:f>Sheet1!$C$2:$C$8</c:f>
              <c:numCache>
                <c:formatCode>General</c:formatCode>
                <c:ptCount val="7"/>
                <c:pt idx="0">
                  <c:v>8697512</c:v>
                </c:pt>
                <c:pt idx="1">
                  <c:v>2920119</c:v>
                </c:pt>
                <c:pt idx="2">
                  <c:v>2109674</c:v>
                </c:pt>
                <c:pt idx="3">
                  <c:v>1330843</c:v>
                </c:pt>
                <c:pt idx="4">
                  <c:v>1209966</c:v>
                </c:pt>
                <c:pt idx="5">
                  <c:v>1076307</c:v>
                </c:pt>
                <c:pt idx="6">
                  <c:v>40049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Hawaiian Tropic</c:v>
                  </c:pt>
                  <c:pt idx="4">
                    <c:v>Caribbean Beach</c:v>
                  </c:pt>
                  <c:pt idx="5">
                    <c:v>Nuvel</c:v>
                  </c:pt>
                  <c:pt idx="6">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77AF2B-8C42-4151-87EF-B130E5AEB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964F58-4CDB-4643-A346-DA753637D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50C178-FD8A-4767-9552-E4D87D3FE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2518F3-564D-4F36-999C-F53069282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9EFA98-264D-4043-820E-8ACB9BF7F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F04347C-47FF-4D2E-B347-90FC3F2385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4CDD33-2ABE-4385-9E82-7301E3CF2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1C50AAE-63A5-413F-B406-1DE2BC2D3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99.21340000000001</c:v>
                </c:pt>
                <c:pt idx="1">
                  <c:v>648.63059999999996</c:v>
                </c:pt>
                <c:pt idx="2">
                  <c:v>331.2047</c:v>
                </c:pt>
                <c:pt idx="3">
                  <c:v>721.35090000000002</c:v>
                </c:pt>
                <c:pt idx="4">
                  <c:v>412.82</c:v>
                </c:pt>
              </c:numCache>
            </c:numRef>
          </c:xVal>
          <c:yVal>
            <c:numRef>
              <c:f>Sheet1!$B$2:$B$6</c:f>
              <c:numCache>
                <c:formatCode>General</c:formatCode>
                <c:ptCount val="5"/>
                <c:pt idx="0">
                  <c:v>0.81399999999999995</c:v>
                </c:pt>
                <c:pt idx="1">
                  <c:v>1.363</c:v>
                </c:pt>
                <c:pt idx="2">
                  <c:v>2.7040000000000002</c:v>
                </c:pt>
                <c:pt idx="3">
                  <c:v>2.4049999999999998</c:v>
                </c:pt>
                <c:pt idx="4">
                  <c:v>4.4470000000000001</c:v>
                </c:pt>
              </c:numCache>
            </c:numRef>
          </c:yVal>
          <c:bubbleSize>
            <c:numRef>
              <c:f>Sheet1!$C$2:$C$6</c:f>
              <c:numCache>
                <c:formatCode>General</c:formatCode>
                <c:ptCount val="5"/>
                <c:pt idx="0">
                  <c:v>24318781</c:v>
                </c:pt>
                <c:pt idx="1">
                  <c:v>4895215</c:v>
                </c:pt>
                <c:pt idx="2">
                  <c:v>2831469</c:v>
                </c:pt>
                <c:pt idx="3">
                  <c:v>2783693</c:v>
                </c:pt>
                <c:pt idx="4">
                  <c:v>1969977</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Eclipsol</c:v>
                  </c:pt>
                  <c:pt idx="3">
                    <c:v>La Roche-Posay</c:v>
                  </c:pt>
                  <c:pt idx="4">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1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3930835-DD53-4C9C-AA68-79E617F96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44A0071-E81A-4490-946C-66A49454F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11AB16B-BED4-445C-89D2-E7C658BB7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5394074-9ABC-4FC5-A5D6-4EE9C6E65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6D64DCC-3F44-4283-8015-75CC9ACA9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A465FCF-12F1-4C2B-AA9D-914A67A03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945CB9-34CB-4CD4-8987-43954329F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341DC68-1E56-447B-926A-E02EE6028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68.09210000000002</c:v>
                </c:pt>
              </c:numCache>
            </c:numRef>
          </c:xVal>
          <c:yVal>
            <c:numRef>
              <c:f>Sheet1!$B$2:$B$2</c:f>
              <c:numCache>
                <c:formatCode>General</c:formatCode>
                <c:ptCount val="1"/>
                <c:pt idx="0">
                  <c:v>1</c:v>
                </c:pt>
              </c:numCache>
            </c:numRef>
          </c:yVal>
          <c:bubbleSize>
            <c:numRef>
              <c:f>Sheet1!$C$2:$C$2</c:f>
              <c:numCache>
                <c:formatCode>General</c:formatCode>
                <c:ptCount val="1"/>
                <c:pt idx="0">
                  <c:v>238602</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2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89B5C3-CE54-4546-A8A3-03AC79FB3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AE7EC54-D3DA-4B0F-B329-0A7AF8B2A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6101A37-F1DD-4087-B134-C6D33F478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72D9D33-D408-4222-B930-0915EEE69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17E3D6A-4D89-4EC7-A9A5-802B60AF3B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0CF8D59-F2C8-426D-B419-1DEC776130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17953CF-14D6-4EA8-928D-B2A4D34A1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736171B-29CC-42AA-A190-5DFCC5092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34.5549</c:v>
                </c:pt>
              </c:numCache>
            </c:numRef>
          </c:xVal>
          <c:yVal>
            <c:numRef>
              <c:f>Sheet1!$B$2:$B$2</c:f>
              <c:numCache>
                <c:formatCode>General</c:formatCode>
                <c:ptCount val="1"/>
                <c:pt idx="0">
                  <c:v>0.80300000000000005</c:v>
                </c:pt>
              </c:numCache>
            </c:numRef>
          </c:yVal>
          <c:bubbleSize>
            <c:numRef>
              <c:f>Sheet1!$C$2:$C$2</c:f>
              <c:numCache>
                <c:formatCode>General</c:formatCode>
                <c:ptCount val="1"/>
                <c:pt idx="0">
                  <c:v>3247882</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1"/>
          <c:min val="18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A4BF59-C960-4DBD-B682-7C25C6C3B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DB2183-655C-4072-83A7-433CB2DBA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61D521-8017-4629-A72C-2DAA543B9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A022529-BA6F-49BF-A203-0381C2B10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968B8DB-26D4-4614-A905-08C3F58F3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E2D1C28-C1C2-4A7E-B0BD-64B1543C9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B4A0E5B-EACB-4B83-9276-212EED518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6085CC3-1D8C-49F5-8150-0CA675397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50.1001</c:v>
                </c:pt>
                <c:pt idx="1">
                  <c:v>1110.2319</c:v>
                </c:pt>
                <c:pt idx="2">
                  <c:v>631.07150000000001</c:v>
                </c:pt>
              </c:numCache>
            </c:numRef>
          </c:xVal>
          <c:yVal>
            <c:numRef>
              <c:f>Sheet1!$B$2:$B$4</c:f>
              <c:numCache>
                <c:formatCode>General</c:formatCode>
                <c:ptCount val="3"/>
                <c:pt idx="0">
                  <c:v>0.89700000000000002</c:v>
                </c:pt>
                <c:pt idx="1">
                  <c:v>1.853</c:v>
                </c:pt>
                <c:pt idx="2">
                  <c:v>1.6910000000000001</c:v>
                </c:pt>
              </c:numCache>
            </c:numRef>
          </c:yVal>
          <c:bubbleSize>
            <c:numRef>
              <c:f>Sheet1!$C$2:$C$4</c:f>
              <c:numCache>
                <c:formatCode>General</c:formatCode>
                <c:ptCount val="3"/>
                <c:pt idx="0">
                  <c:v>20864033</c:v>
                </c:pt>
                <c:pt idx="1">
                  <c:v>3767017</c:v>
                </c:pt>
                <c:pt idx="2">
                  <c:v>2206857</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32"/>
          <c:min val="50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74E9DF-095B-43FD-8815-744AD5167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9B82F2-FE2D-401D-91E8-337E64AF0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0B77002-2899-4691-8B15-C7E3A5E4B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E65664B-AE3E-4683-BCAD-E24637C07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3639DC7-A4DA-469B-B7D9-15BB8A229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BBE8FD7-F3E1-4A56-BCE5-29BACF202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B13F858-FFD3-4D83-B516-409954379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823664B-CAE9-40F3-AA5F-EE4592423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489.36520000000002</c:v>
                </c:pt>
                <c:pt idx="1">
                  <c:v>555.08360000000005</c:v>
                </c:pt>
              </c:numCache>
            </c:numRef>
          </c:xVal>
          <c:yVal>
            <c:numRef>
              <c:f>Sheet1!$B$2:$B$3</c:f>
              <c:numCache>
                <c:formatCode>General</c:formatCode>
                <c:ptCount val="2"/>
                <c:pt idx="0">
                  <c:v>1.357</c:v>
                </c:pt>
                <c:pt idx="1">
                  <c:v>0.60499999999999998</c:v>
                </c:pt>
              </c:numCache>
            </c:numRef>
          </c:yVal>
          <c:bubbleSize>
            <c:numRef>
              <c:f>Sheet1!$C$2:$C$3</c:f>
              <c:numCache>
                <c:formatCode>General</c:formatCode>
                <c:ptCount val="2"/>
                <c:pt idx="0">
                  <c:v>30527089</c:v>
                </c:pt>
                <c:pt idx="1">
                  <c:v>12418886</c:v>
                </c:pt>
              </c:numCache>
            </c:numRef>
          </c:bubbleSize>
          <c:bubble3D val="0"/>
          <c:extLst>
            <c:ext xmlns:c15="http://schemas.microsoft.com/office/drawing/2012/chart" uri="{02D57815-91ED-43cb-92C2-25804820EDAC}">
              <c15:datalabelsRange>
                <c15:f>Sheet1!$E$2:$E$10</c15:f>
                <c15:dlblRangeCache>
                  <c:ptCount val="9"/>
                  <c:pt idx="0">
                    <c:v>Isdin</c:v>
                  </c:pt>
                  <c:pt idx="1">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6"/>
          <c:min val="39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60E5BD-0100-42C2-8778-CA1A72C1F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C862AB-436F-4332-9450-2E8987DC9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3F409D-4D62-46B4-8684-D86C512F9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88B0BF-E4E3-402E-9533-691A23413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891526-2C8D-4F36-A000-D9FD66166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1565CF-3F6A-4EA3-BE77-1FCF0F630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2335DDA-44EB-495F-8692-F7E3123C2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DAD130-88D4-418E-A72C-D8335544C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2.5838</c:v>
                </c:pt>
                <c:pt idx="1">
                  <c:v>427.95409999999998</c:v>
                </c:pt>
                <c:pt idx="2">
                  <c:v>242.91040000000001</c:v>
                </c:pt>
                <c:pt idx="3">
                  <c:v>80.124899999999997</c:v>
                </c:pt>
                <c:pt idx="4">
                  <c:v>96.877300000000005</c:v>
                </c:pt>
                <c:pt idx="5">
                  <c:v>291.05380000000002</c:v>
                </c:pt>
                <c:pt idx="6">
                  <c:v>213.35749999999999</c:v>
                </c:pt>
              </c:numCache>
            </c:numRef>
          </c:xVal>
          <c:yVal>
            <c:numRef>
              <c:f>Sheet1!$B$2:$B$8</c:f>
              <c:numCache>
                <c:formatCode>General</c:formatCode>
                <c:ptCount val="7"/>
                <c:pt idx="0">
                  <c:v>2.1219999999999999</c:v>
                </c:pt>
                <c:pt idx="1">
                  <c:v>6.7889999999999997</c:v>
                </c:pt>
                <c:pt idx="2">
                  <c:v>0.81100000000000005</c:v>
                </c:pt>
                <c:pt idx="3">
                  <c:v>0.505</c:v>
                </c:pt>
                <c:pt idx="4">
                  <c:v>0.63</c:v>
                </c:pt>
                <c:pt idx="5">
                  <c:v>1.8180000000000001</c:v>
                </c:pt>
                <c:pt idx="6">
                  <c:v>0.76900000000000002</c:v>
                </c:pt>
              </c:numCache>
            </c:numRef>
          </c:yVal>
          <c:bubbleSize>
            <c:numRef>
              <c:f>Sheet1!$C$2:$C$8</c:f>
              <c:numCache>
                <c:formatCode>General</c:formatCode>
                <c:ptCount val="7"/>
                <c:pt idx="0">
                  <c:v>3097552</c:v>
                </c:pt>
                <c:pt idx="1">
                  <c:v>1947191</c:v>
                </c:pt>
                <c:pt idx="2">
                  <c:v>1233013</c:v>
                </c:pt>
                <c:pt idx="3">
                  <c:v>1209966</c:v>
                </c:pt>
                <c:pt idx="4">
                  <c:v>1076307</c:v>
                </c:pt>
                <c:pt idx="5">
                  <c:v>400490</c:v>
                </c:pt>
                <c:pt idx="6">
                  <c:v>39385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Caribbean Beach</c:v>
                  </c:pt>
                  <c:pt idx="4">
                    <c:v>Nuvel</c:v>
                  </c:pt>
                  <c:pt idx="5">
                    <c:v>Eclipsol</c:v>
                  </c:pt>
                  <c:pt idx="6">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D79C41-E20A-4F52-90D7-A32ABEAFC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B5E7BE6-10F2-4901-83B1-81D29108F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B11F185-AE66-4C87-BC3F-C3B232872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27A8A96-43E1-410E-AC7D-97741DE44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363AC50-A683-480C-BFD3-3C9CB4375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4A73636-58F7-44F4-9EC0-F7C3E4C1D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B1B871-A5C2-47DF-B22A-153ECB131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6003C0D-B711-4DD2-82F8-42FCEACCF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650.38699999999994</c:v>
                </c:pt>
              </c:numCache>
            </c:numRef>
          </c:xVal>
          <c:yVal>
            <c:numRef>
              <c:f>Sheet1!$B$2:$B$2</c:f>
              <c:numCache>
                <c:formatCode>General</c:formatCode>
                <c:ptCount val="1"/>
                <c:pt idx="0">
                  <c:v>1</c:v>
                </c:pt>
              </c:numCache>
            </c:numRef>
          </c:yVal>
          <c:bubbleSize>
            <c:numRef>
              <c:f>Sheet1!$C$2:$C$2</c:f>
              <c:numCache>
                <c:formatCode>General</c:formatCode>
                <c:ptCount val="1"/>
                <c:pt idx="0">
                  <c:v>290723</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0"/>
          <c:min val="5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92421D-D131-4752-B5F1-4E3F6B275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582053-FB7E-4502-9068-EF8B976F6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77CF0D2-FACA-4669-A1E6-C8DF72BC9E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DC980DE-BFED-4E9E-A4A8-DD1DFB0C8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3D847A2-F542-482F-8AC3-0AC27C7F4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32B5DFD-3982-4780-A3ED-77779DD0E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10773D-26A2-429F-9525-DF528DC9B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0E8589-3949-4944-8C7E-1A2CC01CC9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77.00709999999998</c:v>
                </c:pt>
                <c:pt idx="1">
                  <c:v>465.66890000000001</c:v>
                </c:pt>
              </c:numCache>
            </c:numRef>
          </c:xVal>
          <c:yVal>
            <c:numRef>
              <c:f>Sheet1!$B$2:$B$3</c:f>
              <c:numCache>
                <c:formatCode>General</c:formatCode>
                <c:ptCount val="2"/>
                <c:pt idx="0">
                  <c:v>0.99099999999999999</c:v>
                </c:pt>
                <c:pt idx="1">
                  <c:v>1.016</c:v>
                </c:pt>
              </c:numCache>
            </c:numRef>
          </c:yVal>
          <c:bubbleSize>
            <c:numRef>
              <c:f>Sheet1!$C$2:$C$3</c:f>
              <c:numCache>
                <c:formatCode>General</c:formatCode>
                <c:ptCount val="2"/>
                <c:pt idx="0">
                  <c:v>1204704</c:v>
                </c:pt>
                <c:pt idx="1">
                  <c:v>682205</c:v>
                </c:pt>
              </c:numCache>
            </c:numRef>
          </c:bubbleSize>
          <c:bubble3D val="0"/>
          <c:extLst>
            <c:ext xmlns:c15="http://schemas.microsoft.com/office/drawing/2012/chart" uri="{02D57815-91ED-43cb-92C2-25804820EDAC}">
              <c15:datalabelsRange>
                <c15:f>Sheet1!$E$2:$E$10</c15:f>
                <c15:dlblRangeCache>
                  <c:ptCount val="9"/>
                  <c:pt idx="0">
                    <c:v>Nivea</c:v>
                  </c:pt>
                  <c:pt idx="1">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59"/>
          <c:min val="2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1AA92F-E55C-454A-81B3-09387708D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7F6543-8780-4CB6-9F99-F5283E0AA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594F40-58CC-4FF5-8DD3-D2C1EC27C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24AAE19-89F3-45D5-9E23-8BF200E34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40E4170-8F0C-4CA9-89AD-3BBA86076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0B34512-418E-4F09-BAA2-855482E97D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55362E6-3418-44CC-8B65-CDB495C78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60A00EB-252D-4226-AB21-23C06AEB0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90.7534</c:v>
                </c:pt>
                <c:pt idx="1">
                  <c:v>154.00649999999999</c:v>
                </c:pt>
                <c:pt idx="2">
                  <c:v>125.0885</c:v>
                </c:pt>
              </c:numCache>
            </c:numRef>
          </c:xVal>
          <c:yVal>
            <c:numRef>
              <c:f>Sheet1!$B$2:$B$4</c:f>
              <c:numCache>
                <c:formatCode>General</c:formatCode>
                <c:ptCount val="3"/>
                <c:pt idx="0">
                  <c:v>1.024</c:v>
                </c:pt>
                <c:pt idx="1">
                  <c:v>0.84799999999999998</c:v>
                </c:pt>
                <c:pt idx="2">
                  <c:v>0.93700000000000006</c:v>
                </c:pt>
              </c:numCache>
            </c:numRef>
          </c:yVal>
          <c:bubbleSize>
            <c:numRef>
              <c:f>Sheet1!$C$2:$C$4</c:f>
              <c:numCache>
                <c:formatCode>General</c:formatCode>
                <c:ptCount val="3"/>
                <c:pt idx="0">
                  <c:v>4361194</c:v>
                </c:pt>
                <c:pt idx="1">
                  <c:v>589229</c:v>
                </c:pt>
                <c:pt idx="2">
                  <c:v>35900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9"/>
          <c:min val="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54EC14-9461-4336-BF5B-8D8E75B65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398DB1-9241-4702-82D3-E8BE0743F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B01C199-37E4-465B-BAF7-737F934AB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A3F9556-023E-4C17-8721-E54DFAD57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C0F5FB5-3647-415F-85BE-02997B565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2F8BA6A-C79C-4721-B880-B8C25C75A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885E5D5-570C-4E3D-AF00-CAF79C5C8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7BBCDFD-E5D8-469B-9B3C-36270D2CD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3.9477</c:v>
                </c:pt>
                <c:pt idx="1">
                  <c:v>219.7927</c:v>
                </c:pt>
              </c:numCache>
            </c:numRef>
          </c:xVal>
          <c:yVal>
            <c:numRef>
              <c:f>Sheet1!$B$2:$B$3</c:f>
              <c:numCache>
                <c:formatCode>General</c:formatCode>
                <c:ptCount val="2"/>
                <c:pt idx="0">
                  <c:v>1.0840000000000001</c:v>
                </c:pt>
                <c:pt idx="1">
                  <c:v>0.82499999999999996</c:v>
                </c:pt>
              </c:numCache>
            </c:numRef>
          </c:yVal>
          <c:bubbleSize>
            <c:numRef>
              <c:f>Sheet1!$C$2:$C$3</c:f>
              <c:numCache>
                <c:formatCode>General</c:formatCode>
                <c:ptCount val="2"/>
                <c:pt idx="0">
                  <c:v>517657</c:v>
                </c:pt>
                <c:pt idx="1">
                  <c:v>36046</c:v>
                </c:pt>
              </c:numCache>
            </c:numRef>
          </c:bubbleSize>
          <c:bubble3D val="0"/>
          <c:extLst>
            <c:ext xmlns:c15="http://schemas.microsoft.com/office/drawing/2012/chart" uri="{02D57815-91ED-43cb-92C2-25804820EDAC}">
              <c15:datalabelsRange>
                <c15:f>Sheet1!$E$2:$E$10</c15:f>
                <c15:dlblRangeCache>
                  <c:ptCount val="9"/>
                  <c:pt idx="0">
                    <c:v>Banana Boat</c:v>
                  </c:pt>
                  <c:pt idx="1">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3"/>
          <c:min val="17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779B61-FAF5-4066-A136-6BFEC6A9D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FAA5DF-6074-422F-BBFC-CA56FB870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E0F9F0-113F-4326-B219-9C722F677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14BDAF-5F64-4F40-AB17-EF59CC186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C7A2E5-5237-4693-897C-DE972DF6C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91F405-B96B-4A94-A048-3488BCE04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CD5D72-B8C8-4A06-8201-C11876C4B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14077E-B4F0-4466-A255-DFA20A8D1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1.13380000000001</c:v>
                </c:pt>
                <c:pt idx="1">
                  <c:v>209.15610000000001</c:v>
                </c:pt>
                <c:pt idx="2">
                  <c:v>222.7422</c:v>
                </c:pt>
                <c:pt idx="3">
                  <c:v>577.1653</c:v>
                </c:pt>
                <c:pt idx="4">
                  <c:v>289.72449999999998</c:v>
                </c:pt>
                <c:pt idx="5">
                  <c:v>84.481200000000001</c:v>
                </c:pt>
                <c:pt idx="6">
                  <c:v>506.83350000000002</c:v>
                </c:pt>
                <c:pt idx="7">
                  <c:v>566.1069</c:v>
                </c:pt>
                <c:pt idx="8">
                  <c:v>192.56129999999999</c:v>
                </c:pt>
              </c:numCache>
            </c:numRef>
          </c:xVal>
          <c:yVal>
            <c:numRef>
              <c:f>Sheet1!$B$2:$B$10</c:f>
              <c:numCache>
                <c:formatCode>General</c:formatCode>
                <c:ptCount val="9"/>
                <c:pt idx="0">
                  <c:v>1.038</c:v>
                </c:pt>
                <c:pt idx="1">
                  <c:v>0.746</c:v>
                </c:pt>
                <c:pt idx="2">
                  <c:v>0.72599999999999998</c:v>
                </c:pt>
                <c:pt idx="3">
                  <c:v>4.18</c:v>
                </c:pt>
                <c:pt idx="4">
                  <c:v>2.0569999999999999</c:v>
                </c:pt>
                <c:pt idx="5">
                  <c:v>0.41599999999999998</c:v>
                </c:pt>
                <c:pt idx="6">
                  <c:v>6.3529999999999998</c:v>
                </c:pt>
                <c:pt idx="7">
                  <c:v>4.9269999999999996</c:v>
                </c:pt>
                <c:pt idx="8">
                  <c:v>3.1059999999999999</c:v>
                </c:pt>
              </c:numCache>
            </c:numRef>
          </c:yVal>
          <c:bubbleSize>
            <c:numRef>
              <c:f>Sheet1!$C$2:$C$10</c:f>
              <c:numCache>
                <c:formatCode>General</c:formatCode>
                <c:ptCount val="9"/>
                <c:pt idx="0">
                  <c:v>536202668</c:v>
                </c:pt>
                <c:pt idx="1">
                  <c:v>269083052</c:v>
                </c:pt>
                <c:pt idx="2">
                  <c:v>215531333</c:v>
                </c:pt>
                <c:pt idx="3">
                  <c:v>108131910</c:v>
                </c:pt>
                <c:pt idx="4">
                  <c:v>102115148</c:v>
                </c:pt>
                <c:pt idx="5">
                  <c:v>62392994</c:v>
                </c:pt>
                <c:pt idx="6">
                  <c:v>50910918</c:v>
                </c:pt>
                <c:pt idx="7">
                  <c:v>41303159</c:v>
                </c:pt>
                <c:pt idx="8">
                  <c:v>30494965</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Eucerin</c:v>
                  </c:pt>
                  <c:pt idx="8">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D47907-38E2-4DFE-9A33-6455A8D48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89756B5-75FA-46F7-B0D4-07597023A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38F38AF-E8C2-430A-B3B9-A980E69F8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AA26B65-6641-463B-B542-F224F37DE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2B30CBD-610D-4651-A4F7-48E5449C0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336845F-48EE-4947-A3D9-A5B1AD10D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EE6E0C0-EA7E-4AA5-916D-E6A21A50B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1DFB856-D465-4F09-B716-2411C6A4D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5.64230000000001</c:v>
                </c:pt>
              </c:numCache>
            </c:numRef>
          </c:xVal>
          <c:yVal>
            <c:numRef>
              <c:f>Sheet1!$B$2:$B$2</c:f>
              <c:numCache>
                <c:formatCode>General</c:formatCode>
                <c:ptCount val="1"/>
                <c:pt idx="0">
                  <c:v>1</c:v>
                </c:pt>
              </c:numCache>
            </c:numRef>
          </c:yVal>
          <c:bubbleSize>
            <c:numRef>
              <c:f>Sheet1!$C$2:$C$2</c:f>
              <c:numCache>
                <c:formatCode>General</c:formatCode>
                <c:ptCount val="1"/>
                <c:pt idx="0">
                  <c:v>90642</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19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C81FA1-7108-4873-A145-31A3BA9E6E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4FA0E7-6776-42B8-B033-DC3E900F4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368030-E6E7-4057-B950-73BF0E7FF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0225D82-044B-4647-8C2F-44F529746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2C16D07-F4C2-48AE-90DA-1C2AC2CD7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FA90911-C87B-4047-BC92-7B33F8863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2BFDEEB-E12F-4E6C-A879-EA1FD77E9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3A5363A-893A-4B02-8AD3-0348500A4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97.39189999999996</c:v>
                </c:pt>
                <c:pt idx="1">
                  <c:v>490.33460000000002</c:v>
                </c:pt>
                <c:pt idx="2">
                  <c:v>644.59540000000004</c:v>
                </c:pt>
              </c:numCache>
            </c:numRef>
          </c:xVal>
          <c:yVal>
            <c:numRef>
              <c:f>Sheet1!$B$2:$B$4</c:f>
              <c:numCache>
                <c:formatCode>General</c:formatCode>
                <c:ptCount val="3"/>
                <c:pt idx="0">
                  <c:v>1.1519999999999999</c:v>
                </c:pt>
                <c:pt idx="1">
                  <c:v>2.149</c:v>
                </c:pt>
                <c:pt idx="2">
                  <c:v>2.8420000000000001</c:v>
                </c:pt>
              </c:numCache>
            </c:numRef>
          </c:yVal>
          <c:bubbleSize>
            <c:numRef>
              <c:f>Sheet1!$C$2:$C$4</c:f>
              <c:numCache>
                <c:formatCode>General</c:formatCode>
                <c:ptCount val="3"/>
                <c:pt idx="0">
                  <c:v>7450074</c:v>
                </c:pt>
                <c:pt idx="1">
                  <c:v>5051427</c:v>
                </c:pt>
                <c:pt idx="2">
                  <c:v>1432291</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4"/>
          <c:min val="39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69C90D-5D7D-4F8B-A1D5-E7D8DE5E64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C69F6B-0DDF-4A51-AC4B-771B42ED2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F45083-DA92-4C74-B80B-DC69D610C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F97B32-5E19-4835-B39B-BAAEDB7C7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5B5835-F8BE-4152-93E6-A0C6303F5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732A05-48B4-4E78-82BA-BD236414A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96588E-49AB-4AC8-A2CF-FD7998CD9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2528E8F-D405-4A87-A490-AFFAE272A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3.6815</c:v>
                </c:pt>
                <c:pt idx="1">
                  <c:v>290.39980000000003</c:v>
                </c:pt>
                <c:pt idx="2">
                  <c:v>238.27600000000001</c:v>
                </c:pt>
                <c:pt idx="3">
                  <c:v>239.1284</c:v>
                </c:pt>
                <c:pt idx="4">
                  <c:v>84.7851</c:v>
                </c:pt>
                <c:pt idx="5">
                  <c:v>583.70219999999995</c:v>
                </c:pt>
                <c:pt idx="6">
                  <c:v>74.360500000000002</c:v>
                </c:pt>
                <c:pt idx="7">
                  <c:v>185.8261</c:v>
                </c:pt>
                <c:pt idx="8">
                  <c:v>543.72979999999995</c:v>
                </c:pt>
              </c:numCache>
            </c:numRef>
          </c:xVal>
          <c:yVal>
            <c:numRef>
              <c:f>Sheet1!$B$2:$B$10</c:f>
              <c:numCache>
                <c:formatCode>General</c:formatCode>
                <c:ptCount val="9"/>
                <c:pt idx="0">
                  <c:v>1.4079999999999999</c:v>
                </c:pt>
                <c:pt idx="1">
                  <c:v>1.9490000000000001</c:v>
                </c:pt>
                <c:pt idx="2">
                  <c:v>0.70899999999999996</c:v>
                </c:pt>
                <c:pt idx="3">
                  <c:v>0.64700000000000002</c:v>
                </c:pt>
                <c:pt idx="4">
                  <c:v>0.40500000000000003</c:v>
                </c:pt>
                <c:pt idx="5">
                  <c:v>7.6680000000000001</c:v>
                </c:pt>
                <c:pt idx="6">
                  <c:v>0.38</c:v>
                </c:pt>
                <c:pt idx="7">
                  <c:v>2.8849999999999998</c:v>
                </c:pt>
                <c:pt idx="8">
                  <c:v>3.6629999999999998</c:v>
                </c:pt>
              </c:numCache>
            </c:numRef>
          </c:yVal>
          <c:bubbleSize>
            <c:numRef>
              <c:f>Sheet1!$C$2:$C$10</c:f>
              <c:numCache>
                <c:formatCode>General</c:formatCode>
                <c:ptCount val="9"/>
                <c:pt idx="0">
                  <c:v>216369464</c:v>
                </c:pt>
                <c:pt idx="1">
                  <c:v>99185766</c:v>
                </c:pt>
                <c:pt idx="2">
                  <c:v>72656085</c:v>
                </c:pt>
                <c:pt idx="3">
                  <c:v>66279225</c:v>
                </c:pt>
                <c:pt idx="4">
                  <c:v>61986759</c:v>
                </c:pt>
                <c:pt idx="5">
                  <c:v>57072654</c:v>
                </c:pt>
                <c:pt idx="6">
                  <c:v>23746346</c:v>
                </c:pt>
                <c:pt idx="7">
                  <c:v>20689324</c:v>
                </c:pt>
                <c:pt idx="8">
                  <c:v>18521067</c:v>
                </c:pt>
              </c:numCache>
            </c:numRef>
          </c:bubbleSize>
          <c:bubble3D val="0"/>
          <c:extLst>
            <c:ext xmlns:c15="http://schemas.microsoft.com/office/drawing/2012/chart" uri="{02D57815-91ED-43cb-92C2-25804820EDAC}">
              <c15:datalabelsRange>
                <c15:f>Sheet1!$E$2:$E$10</c15:f>
                <c15:dlblRangeCache>
                  <c:ptCount val="9"/>
                  <c:pt idx="0">
                    <c:v>Nivea</c:v>
                  </c:pt>
                  <c:pt idx="1">
                    <c:v>Neutrogena</c:v>
                  </c:pt>
                  <c:pt idx="2">
                    <c:v>Hawaiian Tropic</c:v>
                  </c:pt>
                  <c:pt idx="3">
                    <c:v>Banana Boat</c:v>
                  </c:pt>
                  <c:pt idx="4">
                    <c:v>Caribbean Beach</c:v>
                  </c:pt>
                  <c:pt idx="5">
                    <c:v>Isdin</c:v>
                  </c:pt>
                  <c:pt idx="6">
                    <c:v>Nuvel</c:v>
                  </c:pt>
                  <c:pt idx="7">
                    <c:v>Garnier</c:v>
                  </c:pt>
                  <c:pt idx="8">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0"/>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0F9873-4540-4572-92CD-5C4B4ED97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9E3F91-23FF-40F3-957C-76362D768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FB8B83-5394-42AE-ADBB-4F25CFC0C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804195-5067-40AB-880E-BF48B0935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7E3F89-3CF7-4ABD-B7E8-1E3B271670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1DC44F-E427-4C0C-B6EC-034346A98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5B349E-E7C2-41A2-BCD0-80546D430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B569C1-5B01-4C9A-B5B1-A3D5F63EA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51.95619999999997</c:v>
                </c:pt>
                <c:pt idx="1">
                  <c:v>580.10599999999999</c:v>
                </c:pt>
                <c:pt idx="2">
                  <c:v>243.3535</c:v>
                </c:pt>
                <c:pt idx="3">
                  <c:v>533.79150000000004</c:v>
                </c:pt>
                <c:pt idx="4">
                  <c:v>524.24919999999997</c:v>
                </c:pt>
                <c:pt idx="5">
                  <c:v>369.12920000000003</c:v>
                </c:pt>
                <c:pt idx="6">
                  <c:v>269.45240000000001</c:v>
                </c:pt>
              </c:numCache>
            </c:numRef>
          </c:xVal>
          <c:yVal>
            <c:numRef>
              <c:f>Sheet1!$B$2:$B$8</c:f>
              <c:numCache>
                <c:formatCode>General</c:formatCode>
                <c:ptCount val="7"/>
                <c:pt idx="0">
                  <c:v>1.123</c:v>
                </c:pt>
                <c:pt idx="1">
                  <c:v>1.3009999999999999</c:v>
                </c:pt>
                <c:pt idx="2">
                  <c:v>0.56799999999999995</c:v>
                </c:pt>
                <c:pt idx="3">
                  <c:v>1.8520000000000001</c:v>
                </c:pt>
                <c:pt idx="4">
                  <c:v>1.0369999999999999</c:v>
                </c:pt>
                <c:pt idx="5">
                  <c:v>1.389</c:v>
                </c:pt>
                <c:pt idx="6">
                  <c:v>0.51600000000000001</c:v>
                </c:pt>
              </c:numCache>
            </c:numRef>
          </c:yVal>
          <c:bubbleSize>
            <c:numRef>
              <c:f>Sheet1!$C$2:$C$8</c:f>
              <c:numCache>
                <c:formatCode>General</c:formatCode>
                <c:ptCount val="7"/>
                <c:pt idx="0">
                  <c:v>17135479</c:v>
                </c:pt>
                <c:pt idx="1">
                  <c:v>14920906</c:v>
                </c:pt>
                <c:pt idx="2">
                  <c:v>11123445</c:v>
                </c:pt>
                <c:pt idx="3">
                  <c:v>4767826</c:v>
                </c:pt>
                <c:pt idx="4">
                  <c:v>4638557</c:v>
                </c:pt>
                <c:pt idx="5">
                  <c:v>2334373</c:v>
                </c:pt>
                <c:pt idx="6">
                  <c:v>676056</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Nivea</c:v>
                  </c:pt>
                  <c:pt idx="3">
                    <c:v>Avene</c:v>
                  </c:pt>
                  <c:pt idx="4">
                    <c:v>Eucerin</c:v>
                  </c:pt>
                  <c:pt idx="5">
                    <c:v>Photoderm</c:v>
                  </c:pt>
                  <c:pt idx="6">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
          <c:min val="19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245518-14B2-4413-B6A4-87BBC4D54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06B82E-9A91-4733-B000-49A68866A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8D7679-1A2A-4A03-94AB-F2D188BD4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51B965-4143-480B-81CB-425B54592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D0DCD2-43B3-4B4E-99B8-925A26C986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47CA30-8FD4-4138-B357-842225618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1E82B64-4739-44E7-8332-9EC4846AA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26C6B4D-9F8C-46F4-8D7A-56766FF4A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8.05040000000002</c:v>
                </c:pt>
                <c:pt idx="1">
                  <c:v>591.13890000000004</c:v>
                </c:pt>
                <c:pt idx="2">
                  <c:v>552.87980000000005</c:v>
                </c:pt>
                <c:pt idx="3">
                  <c:v>539.27739999999994</c:v>
                </c:pt>
                <c:pt idx="4">
                  <c:v>567.20190000000002</c:v>
                </c:pt>
                <c:pt idx="5">
                  <c:v>467.96749999999997</c:v>
                </c:pt>
              </c:numCache>
            </c:numRef>
          </c:xVal>
          <c:yVal>
            <c:numRef>
              <c:f>Sheet1!$B$2:$B$7</c:f>
              <c:numCache>
                <c:formatCode>General</c:formatCode>
                <c:ptCount val="6"/>
                <c:pt idx="0">
                  <c:v>0.79900000000000004</c:v>
                </c:pt>
                <c:pt idx="1">
                  <c:v>1.417</c:v>
                </c:pt>
                <c:pt idx="2">
                  <c:v>6.5259999999999998</c:v>
                </c:pt>
                <c:pt idx="3">
                  <c:v>6.6909999999999998</c:v>
                </c:pt>
                <c:pt idx="4">
                  <c:v>41.033000000000001</c:v>
                </c:pt>
                <c:pt idx="5">
                  <c:v>3.1779999999999999</c:v>
                </c:pt>
              </c:numCache>
            </c:numRef>
          </c:yVal>
          <c:bubbleSize>
            <c:numRef>
              <c:f>Sheet1!$C$2:$C$7</c:f>
              <c:numCache>
                <c:formatCode>General</c:formatCode>
                <c:ptCount val="6"/>
                <c:pt idx="0">
                  <c:v>91166125</c:v>
                </c:pt>
                <c:pt idx="1">
                  <c:v>17641359</c:v>
                </c:pt>
                <c:pt idx="2">
                  <c:v>11875859</c:v>
                </c:pt>
                <c:pt idx="3">
                  <c:v>5504944</c:v>
                </c:pt>
                <c:pt idx="4">
                  <c:v>1573418</c:v>
                </c:pt>
                <c:pt idx="5">
                  <c:v>132388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Eucerin</c:v>
                  </c:pt>
                  <c:pt idx="3">
                    <c:v>La Roche-Posay</c:v>
                  </c:pt>
                  <c:pt idx="4">
                    <c:v>Photoderm</c:v>
                  </c:pt>
                  <c:pt idx="5">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20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BF3596-1233-4A3E-85A1-8BB07C007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205B66-510D-4082-A526-738C84BC6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E3813F5-1545-47AA-B303-C4D12A8B4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BC0EEA2-67CE-4069-B9E2-C7E5F8CAB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708F7EF-7C7E-431E-956A-0C12F8511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2ACA96C-34F5-4346-98C4-3F49EC603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50F9E33-F156-4867-A5FF-348991B9E0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BE045D4-3F3D-45BC-94C2-B6419C779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02.04489999999998</c:v>
                </c:pt>
                <c:pt idx="1">
                  <c:v>627.20219999999995</c:v>
                </c:pt>
              </c:numCache>
            </c:numRef>
          </c:xVal>
          <c:yVal>
            <c:numRef>
              <c:f>Sheet1!$B$2:$B$3</c:f>
              <c:numCache>
                <c:formatCode>General</c:formatCode>
                <c:ptCount val="2"/>
                <c:pt idx="0">
                  <c:v>0.90200000000000002</c:v>
                </c:pt>
                <c:pt idx="1">
                  <c:v>0</c:v>
                </c:pt>
              </c:numCache>
            </c:numRef>
          </c:yVal>
          <c:bubbleSize>
            <c:numRef>
              <c:f>Sheet1!$C$2:$C$3</c:f>
              <c:numCache>
                <c:formatCode>General</c:formatCode>
                <c:ptCount val="2"/>
                <c:pt idx="0">
                  <c:v>2562303</c:v>
                </c:pt>
                <c:pt idx="1">
                  <c:v>279105</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3"/>
          <c:min val="48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60DC22-605F-462B-BD77-6FAD84230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46B211-B0F2-45A4-905E-7D1A3B3AA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814C09-1759-4BF6-B2C4-83E7296C8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4824F2-4D97-47BA-BFB3-A9F779839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98FB51-9C1A-4747-A1ED-0F6EFDCAC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50911CB-A78A-44AE-98DF-22F5CC9F9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D371231-65CD-42CB-ADF4-DC9A0A5D9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A00F184-3B17-4DD4-9524-DEE9252D6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36.91249999999999</c:v>
                </c:pt>
                <c:pt idx="1">
                  <c:v>198.89670000000001</c:v>
                </c:pt>
                <c:pt idx="2">
                  <c:v>200.6215</c:v>
                </c:pt>
                <c:pt idx="3">
                  <c:v>247.20529999999999</c:v>
                </c:pt>
                <c:pt idx="4">
                  <c:v>206.30250000000001</c:v>
                </c:pt>
              </c:numCache>
            </c:numRef>
          </c:xVal>
          <c:yVal>
            <c:numRef>
              <c:f>Sheet1!$B$2:$B$6</c:f>
              <c:numCache>
                <c:formatCode>General</c:formatCode>
                <c:ptCount val="5"/>
                <c:pt idx="0">
                  <c:v>0.96799999999999997</c:v>
                </c:pt>
                <c:pt idx="1">
                  <c:v>0.89</c:v>
                </c:pt>
                <c:pt idx="2">
                  <c:v>0.90100000000000002</c:v>
                </c:pt>
                <c:pt idx="3">
                  <c:v>4.5359999999999996</c:v>
                </c:pt>
                <c:pt idx="4">
                  <c:v>2.9039999999999999</c:v>
                </c:pt>
              </c:numCache>
            </c:numRef>
          </c:yVal>
          <c:bubbleSize>
            <c:numRef>
              <c:f>Sheet1!$C$2:$C$6</c:f>
              <c:numCache>
                <c:formatCode>General</c:formatCode>
                <c:ptCount val="5"/>
                <c:pt idx="0">
                  <c:v>204773926</c:v>
                </c:pt>
                <c:pt idx="1">
                  <c:v>173833330</c:v>
                </c:pt>
                <c:pt idx="2">
                  <c:v>64017528</c:v>
                </c:pt>
                <c:pt idx="3">
                  <c:v>19748491</c:v>
                </c:pt>
                <c:pt idx="4">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Loreal Paris</c:v>
                  </c:pt>
                  <c:pt idx="4">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
          <c:min val="1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320D89-FB36-4B96-A598-C5B19E1E1A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83DE0A-FD41-495B-8F0A-561BF8091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EF231F-3A0D-48F1-8494-EB55E3FDF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1F5474-68EB-4AB7-B5E7-50E9ED0B1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BEDF1D-951C-425B-84C4-5A9D1C009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C74C3DA-1137-4501-A351-02CB26E5C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1845150-1BBF-4FDA-A974-AF5D1746B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C34C9D9-9124-49BB-B392-1AE811C3E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9.33860000000001</c:v>
                </c:pt>
                <c:pt idx="1">
                  <c:v>597.97450000000003</c:v>
                </c:pt>
                <c:pt idx="2">
                  <c:v>566.36</c:v>
                </c:pt>
                <c:pt idx="3">
                  <c:v>246.7004</c:v>
                </c:pt>
                <c:pt idx="4">
                  <c:v>424.61759999999998</c:v>
                </c:pt>
              </c:numCache>
            </c:numRef>
          </c:xVal>
          <c:yVal>
            <c:numRef>
              <c:f>Sheet1!$B$2:$B$6</c:f>
              <c:numCache>
                <c:formatCode>General</c:formatCode>
                <c:ptCount val="5"/>
                <c:pt idx="0">
                  <c:v>0.94799999999999995</c:v>
                </c:pt>
                <c:pt idx="1">
                  <c:v>2.04</c:v>
                </c:pt>
                <c:pt idx="2">
                  <c:v>3.4569999999999999</c:v>
                </c:pt>
                <c:pt idx="3">
                  <c:v>3.952</c:v>
                </c:pt>
                <c:pt idx="4">
                  <c:v>5.5679999999999996</c:v>
                </c:pt>
              </c:numCache>
            </c:numRef>
          </c:yVal>
          <c:bubbleSize>
            <c:numRef>
              <c:f>Sheet1!$C$2:$C$6</c:f>
              <c:numCache>
                <c:formatCode>General</c:formatCode>
                <c:ptCount val="5"/>
                <c:pt idx="0">
                  <c:v>68297582</c:v>
                </c:pt>
                <c:pt idx="1">
                  <c:v>1685690</c:v>
                </c:pt>
                <c:pt idx="2">
                  <c:v>1592038</c:v>
                </c:pt>
                <c:pt idx="3">
                  <c:v>1269767</c:v>
                </c:pt>
                <c:pt idx="4">
                  <c:v>989359</c:v>
                </c:pt>
              </c:numCache>
            </c:numRef>
          </c:bubbleSize>
          <c:bubble3D val="0"/>
          <c:extLst>
            <c:ext xmlns:c15="http://schemas.microsoft.com/office/drawing/2012/chart" uri="{02D57815-91ED-43cb-92C2-25804820EDAC}">
              <c15:datalabelsRange>
                <c15:f>Sheet1!$E$2:$E$10</c15:f>
                <c15:dlblRangeCache>
                  <c:ptCount val="9"/>
                  <c:pt idx="0">
                    <c:v>Banana Boat</c:v>
                  </c:pt>
                  <c:pt idx="1">
                    <c:v>Isdin</c:v>
                  </c:pt>
                  <c:pt idx="2">
                    <c:v>La Roche-Posay</c:v>
                  </c:pt>
                  <c:pt idx="3">
                    <c:v>Eclipsol</c:v>
                  </c:pt>
                  <c:pt idx="4">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
          <c:min val="19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6D0C5B-9BAD-43A0-B5C8-3563BE991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E7A1236-61CE-4D83-B9C3-A6002C452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78DE22D-4D4F-4822-81B4-375FD265F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231D7BF-73B2-4EAB-B18C-F63529767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8599D21-4B23-4742-9F12-C18F90A59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D5CCB83-A181-48F4-B830-6BFC6A890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FBDC568-7FAB-4BC4-8D25-827125AEE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433AE9E-BB26-4B99-9559-5D1EBA732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4.0581</c:v>
                </c:pt>
              </c:numCache>
            </c:numRef>
          </c:xVal>
          <c:yVal>
            <c:numRef>
              <c:f>Sheet1!$B$2:$B$2</c:f>
              <c:numCache>
                <c:formatCode>General</c:formatCode>
                <c:ptCount val="1"/>
                <c:pt idx="0">
                  <c:v>1</c:v>
                </c:pt>
              </c:numCache>
            </c:numRef>
          </c:yVal>
          <c:bubbleSize>
            <c:numRef>
              <c:f>Sheet1!$C$2:$C$2</c:f>
              <c:numCache>
                <c:formatCode>General</c:formatCode>
                <c:ptCount val="1"/>
                <c:pt idx="0">
                  <c:v>2997001</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5"/>
          <c:min val="1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6F0B42-D0E3-4DB0-9090-53CDFC2A0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49D5260-86E5-4858-9538-B6C9DB243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48422CE-83D5-4132-91A4-AF3E6A6F0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1968B3F-6BD8-43EE-B8F5-2396F353F8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049335D-6FFE-4409-AD72-1A8B9A732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6D5F270-342A-470E-8EB4-EBD89AC59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EA2029E-6784-4B8C-B2F4-25795E610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71006CA-C6E1-4FCF-B65E-4B986C697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8.50640000000001</c:v>
                </c:pt>
              </c:numCache>
            </c:numRef>
          </c:xVal>
          <c:yVal>
            <c:numRef>
              <c:f>Sheet1!$B$2:$B$2</c:f>
              <c:numCache>
                <c:formatCode>General</c:formatCode>
                <c:ptCount val="1"/>
                <c:pt idx="0">
                  <c:v>1</c:v>
                </c:pt>
              </c:numCache>
            </c:numRef>
          </c:yVal>
          <c:bubbleSize>
            <c:numRef>
              <c:f>Sheet1!$C$2:$C$2</c:f>
              <c:numCache>
                <c:formatCode>General</c:formatCode>
                <c:ptCount val="1"/>
                <c:pt idx="0">
                  <c:v>9805641</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DBE991-7A26-4E3D-960E-985E04FBE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5FF11C-C430-4396-B51A-7BF964475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5E5EE1-CB48-48A3-9BC1-8E1076928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80CA18-A365-44A9-907B-90C80524E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3FB92D-D26F-49F1-A94C-C594F307E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677950-DF77-4DD7-B89B-C7E607254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320F2F5-814D-4318-A703-F53DEE8A0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7390A4-EBFF-486D-A223-6AD5A8FF9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50.78219999999999</c:v>
                </c:pt>
                <c:pt idx="1">
                  <c:v>613.25300000000004</c:v>
                </c:pt>
                <c:pt idx="2">
                  <c:v>619.50990000000002</c:v>
                </c:pt>
                <c:pt idx="3">
                  <c:v>217.92179999999999</c:v>
                </c:pt>
                <c:pt idx="4">
                  <c:v>219.85040000000001</c:v>
                </c:pt>
                <c:pt idx="5">
                  <c:v>655.54369999999994</c:v>
                </c:pt>
                <c:pt idx="6">
                  <c:v>667.63379999999995</c:v>
                </c:pt>
                <c:pt idx="7">
                  <c:v>301.56990000000002</c:v>
                </c:pt>
                <c:pt idx="8">
                  <c:v>625.82529999999997</c:v>
                </c:pt>
              </c:numCache>
            </c:numRef>
          </c:xVal>
          <c:yVal>
            <c:numRef>
              <c:f>Sheet1!$B$2:$B$10</c:f>
              <c:numCache>
                <c:formatCode>General</c:formatCode>
                <c:ptCount val="9"/>
                <c:pt idx="0">
                  <c:v>0.72199999999999998</c:v>
                </c:pt>
                <c:pt idx="1">
                  <c:v>2.7679999999999998</c:v>
                </c:pt>
                <c:pt idx="2">
                  <c:v>4.3280000000000003</c:v>
                </c:pt>
                <c:pt idx="3">
                  <c:v>0.499</c:v>
                </c:pt>
                <c:pt idx="4">
                  <c:v>0.51400000000000001</c:v>
                </c:pt>
                <c:pt idx="5">
                  <c:v>3.7610000000000001</c:v>
                </c:pt>
                <c:pt idx="6">
                  <c:v>3.2250000000000001</c:v>
                </c:pt>
                <c:pt idx="7">
                  <c:v>1.3660000000000001</c:v>
                </c:pt>
                <c:pt idx="8">
                  <c:v>4.8449999999999998</c:v>
                </c:pt>
              </c:numCache>
            </c:numRef>
          </c:yVal>
          <c:bubbleSize>
            <c:numRef>
              <c:f>Sheet1!$C$2:$C$10</c:f>
              <c:numCache>
                <c:formatCode>General</c:formatCode>
                <c:ptCount val="9"/>
                <c:pt idx="0">
                  <c:v>778226782</c:v>
                </c:pt>
                <c:pt idx="1">
                  <c:v>629447145</c:v>
                </c:pt>
                <c:pt idx="2">
                  <c:v>364879575</c:v>
                </c:pt>
                <c:pt idx="3">
                  <c:v>349000701</c:v>
                </c:pt>
                <c:pt idx="4">
                  <c:v>303068598</c:v>
                </c:pt>
                <c:pt idx="5">
                  <c:v>263235523</c:v>
                </c:pt>
                <c:pt idx="6">
                  <c:v>228911615</c:v>
                </c:pt>
                <c:pt idx="7">
                  <c:v>163043442</c:v>
                </c:pt>
                <c:pt idx="8">
                  <c:v>11699116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La Roche-Posay</c:v>
                  </c:pt>
                  <c:pt idx="3">
                    <c:v>Hawaiian Tropic</c:v>
                  </c:pt>
                  <c:pt idx="4">
                    <c:v>Banana Boat</c:v>
                  </c:pt>
                  <c:pt idx="5">
                    <c:v>Eucerin</c:v>
                  </c:pt>
                  <c:pt idx="6">
                    <c:v>Avene</c:v>
                  </c:pt>
                  <c:pt idx="7">
                    <c:v>Neutrogena</c:v>
                  </c:pt>
                  <c:pt idx="8">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1"/>
          <c:min val="17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430C3F-5B9A-44CB-A4D8-501762D70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32856A-5CDF-4D05-B93D-0D2A392B5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C2F86E-AE8D-4E1E-B2E5-ED08FFFB2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61FC72-F0D3-48BD-B72D-5FCB74314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7D38E3-DF57-49CB-B48E-CBEE63757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107615-4A12-4C5B-8C28-380AD49F6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3D7273-B799-4674-8B43-5476B7C5C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30EAC83-CBCC-4B29-A858-74AFB1D2D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2.4862</c:v>
                </c:pt>
                <c:pt idx="1">
                  <c:v>360.08690000000001</c:v>
                </c:pt>
                <c:pt idx="2">
                  <c:v>657.53</c:v>
                </c:pt>
                <c:pt idx="3">
                  <c:v>321.74520000000001</c:v>
                </c:pt>
                <c:pt idx="4">
                  <c:v>539.44320000000005</c:v>
                </c:pt>
                <c:pt idx="5">
                  <c:v>408.41359999999997</c:v>
                </c:pt>
              </c:numCache>
            </c:numRef>
          </c:xVal>
          <c:yVal>
            <c:numRef>
              <c:f>Sheet1!$B$2:$B$7</c:f>
              <c:numCache>
                <c:formatCode>General</c:formatCode>
                <c:ptCount val="6"/>
                <c:pt idx="0">
                  <c:v>0.46800000000000003</c:v>
                </c:pt>
                <c:pt idx="1">
                  <c:v>1.6890000000000001</c:v>
                </c:pt>
                <c:pt idx="2">
                  <c:v>2.121</c:v>
                </c:pt>
                <c:pt idx="3">
                  <c:v>1.8420000000000001</c:v>
                </c:pt>
                <c:pt idx="4">
                  <c:v>2.2389999999999999</c:v>
                </c:pt>
                <c:pt idx="5">
                  <c:v>2.1920000000000002</c:v>
                </c:pt>
              </c:numCache>
            </c:numRef>
          </c:yVal>
          <c:bubbleSize>
            <c:numRef>
              <c:f>Sheet1!$C$2:$C$7</c:f>
              <c:numCache>
                <c:formatCode>General</c:formatCode>
                <c:ptCount val="6"/>
                <c:pt idx="0">
                  <c:v>3012160</c:v>
                </c:pt>
                <c:pt idx="1">
                  <c:v>2739181</c:v>
                </c:pt>
                <c:pt idx="2">
                  <c:v>2693243</c:v>
                </c:pt>
                <c:pt idx="3">
                  <c:v>1190779</c:v>
                </c:pt>
                <c:pt idx="4">
                  <c:v>284826</c:v>
                </c:pt>
                <c:pt idx="5">
                  <c:v>191546</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Photoderm</c:v>
                  </c:pt>
                  <c:pt idx="3">
                    <c:v>Ocean Potion</c:v>
                  </c:pt>
                  <c:pt idx="4">
                    <c:v>La Roche-Posay</c:v>
                  </c:pt>
                  <c:pt idx="5">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9"/>
          <c:min val="20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FCA56F-ED14-4942-AE92-7F4B646B0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96D023-5886-4FC2-8A20-B8B8EACD06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823DEC5-A75C-436A-B365-771E560C5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1DDA0E9-42B7-4BD9-B57D-5B3398E8F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5EB991C-48C6-4DCE-973B-969B80486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7D2A685-5226-48F2-B5AA-5D8882F1DD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E21D7D3-7A3E-405F-B84E-2B60B2E1C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30A82B1-35CE-450F-AB97-844B2303B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428.661</c:v>
                </c:pt>
                <c:pt idx="1">
                  <c:v>351.09890000000001</c:v>
                </c:pt>
              </c:numCache>
            </c:numRef>
          </c:xVal>
          <c:yVal>
            <c:numRef>
              <c:f>Sheet1!$B$2:$B$3</c:f>
              <c:numCache>
                <c:formatCode>General</c:formatCode>
                <c:ptCount val="2"/>
                <c:pt idx="0">
                  <c:v>2.2709999999999999</c:v>
                </c:pt>
                <c:pt idx="1">
                  <c:v>0.318</c:v>
                </c:pt>
              </c:numCache>
            </c:numRef>
          </c:yVal>
          <c:bubbleSize>
            <c:numRef>
              <c:f>Sheet1!$C$2:$C$3</c:f>
              <c:numCache>
                <c:formatCode>General</c:formatCode>
                <c:ptCount val="2"/>
                <c:pt idx="0">
                  <c:v>4708412</c:v>
                </c:pt>
                <c:pt idx="1">
                  <c:v>2155747</c:v>
                </c:pt>
              </c:numCache>
            </c:numRef>
          </c:bubbleSize>
          <c:bubble3D val="0"/>
          <c:extLst>
            <c:ext xmlns:c15="http://schemas.microsoft.com/office/drawing/2012/chart" uri="{02D57815-91ED-43cb-92C2-25804820EDAC}">
              <c15:datalabelsRange>
                <c15:f>Sheet1!$E$2:$E$10</c15:f>
                <c15:dlblRangeCache>
                  <c:ptCount val="9"/>
                  <c:pt idx="0">
                    <c:v>Isdin</c:v>
                  </c:pt>
                  <c:pt idx="1">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28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La Roche-Posay</c:v>
                </c:pt>
                <c:pt idx="3">
                  <c:v>Others Marca Unif.</c:v>
                </c:pt>
                <c:pt idx="4">
                  <c:v>Neutrogena</c:v>
                </c:pt>
                <c:pt idx="5">
                  <c:v>Photoderm</c:v>
                </c:pt>
                <c:pt idx="6">
                  <c:v>Heliocare</c:v>
                </c:pt>
              </c:strCache>
            </c:strRef>
          </c:cat>
          <c:val>
            <c:numRef>
              <c:f>Sheet1!$B$2:$B$8</c:f>
              <c:numCache>
                <c:formatCode>General</c:formatCode>
                <c:ptCount val="7"/>
                <c:pt idx="0">
                  <c:v>174.54990000000001</c:v>
                </c:pt>
                <c:pt idx="3">
                  <c:v>143.35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La Roche-Posay</c:v>
                </c:pt>
                <c:pt idx="3">
                  <c:v>Others Marca Unif.</c:v>
                </c:pt>
                <c:pt idx="4">
                  <c:v>Neutrogena</c:v>
                </c:pt>
                <c:pt idx="5">
                  <c:v>Photoderm</c:v>
                </c:pt>
                <c:pt idx="6">
                  <c:v>Heliocare</c:v>
                </c:pt>
              </c:strCache>
            </c:strRef>
          </c:cat>
          <c:val>
            <c:numRef>
              <c:f>Sheet1!$C$2:$C$8</c:f>
              <c:numCache>
                <c:formatCode>General</c:formatCode>
                <c:ptCount val="7"/>
                <c:pt idx="0">
                  <c:v>270.1175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La Roche-Posay</c:v>
                </c:pt>
                <c:pt idx="3">
                  <c:v>Others Marca Unif.</c:v>
                </c:pt>
                <c:pt idx="4">
                  <c:v>Neutrogena</c:v>
                </c:pt>
                <c:pt idx="5">
                  <c:v>Photoderm</c:v>
                </c:pt>
                <c:pt idx="6">
                  <c:v>Heliocare</c:v>
                </c:pt>
              </c:strCache>
            </c:strRef>
          </c:cat>
          <c:val>
            <c:numRef>
              <c:f>Sheet1!$D$2:$D$8</c:f>
              <c:numCache>
                <c:formatCode>General</c:formatCode>
                <c:ptCount val="7"/>
                <c:pt idx="1">
                  <c:v>631.390499999999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La Roche-Posay</c:v>
                </c:pt>
                <c:pt idx="3">
                  <c:v>Others Marca Unif.</c:v>
                </c:pt>
                <c:pt idx="4">
                  <c:v>Neutrogena</c:v>
                </c:pt>
                <c:pt idx="5">
                  <c:v>Photoderm</c:v>
                </c:pt>
                <c:pt idx="6">
                  <c:v>Heliocare</c:v>
                </c:pt>
              </c:strCache>
            </c:strRef>
          </c:cat>
          <c:val>
            <c:numRef>
              <c:f>Sheet1!$E$2:$E$8</c:f>
              <c:numCache>
                <c:formatCode>General</c:formatCode>
                <c:ptCount val="7"/>
                <c:pt idx="0">
                  <c:v>263.08609999999999</c:v>
                </c:pt>
                <c:pt idx="4">
                  <c:v>318.50599999999997</c:v>
                </c:pt>
                <c:pt idx="5">
                  <c:v>678.276899999999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La Roche-Posay</c:v>
                </c:pt>
                <c:pt idx="3">
                  <c:v>Others Marca Unif.</c:v>
                </c:pt>
                <c:pt idx="4">
                  <c:v>Neutrogena</c:v>
                </c:pt>
                <c:pt idx="5">
                  <c:v>Photoderm</c:v>
                </c:pt>
                <c:pt idx="6">
                  <c:v>Heliocare</c:v>
                </c:pt>
              </c:strCache>
            </c:strRef>
          </c:cat>
          <c:val>
            <c:numRef>
              <c:f>Sheet1!$F$2:$F$8</c:f>
              <c:numCache>
                <c:formatCode>General</c:formatCode>
                <c:ptCount val="7"/>
                <c:pt idx="0">
                  <c:v>248.50540000000001</c:v>
                </c:pt>
                <c:pt idx="1">
                  <c:v>622.76530000000002</c:v>
                </c:pt>
                <c:pt idx="2">
                  <c:v>616.1585</c:v>
                </c:pt>
                <c:pt idx="6">
                  <c:v>629.0519000000000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Isdin</c:v>
                </c:pt>
                <c:pt idx="2">
                  <c:v>La Roche-Posay</c:v>
                </c:pt>
                <c:pt idx="3">
                  <c:v>Neutrogena</c:v>
                </c:pt>
                <c:pt idx="4">
                  <c:v>Photoderm</c:v>
                </c:pt>
                <c:pt idx="5">
                  <c:v>Heliocare</c:v>
                </c:pt>
              </c:strCache>
            </c:strRef>
          </c:cat>
          <c:val>
            <c:numRef>
              <c:f>Sheet1!$B$2:$B$7</c:f>
              <c:numCache>
                <c:formatCode>General</c:formatCode>
                <c:ptCount val="6"/>
                <c:pt idx="0">
                  <c:v>173.08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La Roche-Posay</c:v>
                </c:pt>
                <c:pt idx="3">
                  <c:v>Neutrogena</c:v>
                </c:pt>
                <c:pt idx="4">
                  <c:v>Photoderm</c:v>
                </c:pt>
                <c:pt idx="5">
                  <c:v>Heliocare</c:v>
                </c:pt>
              </c:strCache>
            </c:strRef>
          </c:cat>
          <c:val>
            <c:numRef>
              <c:f>Sheet1!$C$2:$C$7</c:f>
              <c:numCache>
                <c:formatCode>General</c:formatCode>
                <c:ptCount val="6"/>
                <c:pt idx="0">
                  <c:v>271.21730000000002</c:v>
                </c:pt>
                <c:pt idx="3">
                  <c:v>303.0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La Roche-Posay</c:v>
                </c:pt>
                <c:pt idx="3">
                  <c:v>Neutrogena</c:v>
                </c:pt>
                <c:pt idx="4">
                  <c:v>Photoderm</c:v>
                </c:pt>
                <c:pt idx="5">
                  <c:v>Heliocare</c:v>
                </c:pt>
              </c:strCache>
            </c:strRef>
          </c:cat>
          <c:val>
            <c:numRef>
              <c:f>Sheet1!$D$2:$D$7</c:f>
              <c:numCache>
                <c:formatCode>General</c:formatCode>
                <c:ptCount val="6"/>
                <c:pt idx="1">
                  <c:v>636.317199999999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La Roche-Posay</c:v>
                </c:pt>
                <c:pt idx="3">
                  <c:v>Neutrogena</c:v>
                </c:pt>
                <c:pt idx="4">
                  <c:v>Photoderm</c:v>
                </c:pt>
                <c:pt idx="5">
                  <c:v>Heliocare</c:v>
                </c:pt>
              </c:strCache>
            </c:strRef>
          </c:cat>
          <c:val>
            <c:numRef>
              <c:f>Sheet1!$E$2:$E$7</c:f>
              <c:numCache>
                <c:formatCode>General</c:formatCode>
                <c:ptCount val="6"/>
                <c:pt idx="0">
                  <c:v>262.66410000000002</c:v>
                </c:pt>
                <c:pt idx="3">
                  <c:v>318.8759</c:v>
                </c:pt>
                <c:pt idx="4">
                  <c:v>703.3445000000000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La Roche-Posay</c:v>
                </c:pt>
                <c:pt idx="3">
                  <c:v>Neutrogena</c:v>
                </c:pt>
                <c:pt idx="4">
                  <c:v>Photoderm</c:v>
                </c:pt>
                <c:pt idx="5">
                  <c:v>Heliocare</c:v>
                </c:pt>
              </c:strCache>
            </c:strRef>
          </c:cat>
          <c:val>
            <c:numRef>
              <c:f>Sheet1!$F$2:$F$7</c:f>
              <c:numCache>
                <c:formatCode>General</c:formatCode>
                <c:ptCount val="6"/>
                <c:pt idx="0">
                  <c:v>247.4402</c:v>
                </c:pt>
                <c:pt idx="1">
                  <c:v>620.6019</c:v>
                </c:pt>
                <c:pt idx="2">
                  <c:v>624.36379999999997</c:v>
                </c:pt>
                <c:pt idx="5">
                  <c:v>632.2820000000000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B$2:$B$7</c:f>
              <c:numCache>
                <c:formatCode>General</c:formatCode>
                <c:ptCount val="6"/>
                <c:pt idx="2">
                  <c:v>170.66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C$2:$C$7</c:f>
              <c:numCache>
                <c:formatCode>General</c:formatCode>
                <c:ptCount val="6"/>
                <c:pt idx="0">
                  <c:v>650.67669999999998</c:v>
                </c:pt>
                <c:pt idx="2">
                  <c:v>335.59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D$2:$D$7</c:f>
              <c:numCache>
                <c:formatCode>General</c:formatCode>
                <c:ptCount val="6"/>
                <c:pt idx="0">
                  <c:v>643.716199999999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E$2:$E$7</c:f>
              <c:numCache>
                <c:formatCode>General</c:formatCode>
                <c:ptCount val="6"/>
                <c:pt idx="3">
                  <c:v>547.59569999999997</c:v>
                </c:pt>
                <c:pt idx="4">
                  <c:v>746.46079999999995</c:v>
                </c:pt>
                <c:pt idx="5">
                  <c:v>345.69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F$2:$F$7</c:f>
              <c:numCache>
                <c:formatCode>General</c:formatCode>
                <c:ptCount val="6"/>
                <c:pt idx="0">
                  <c:v>630.09280000000001</c:v>
                </c:pt>
                <c:pt idx="1">
                  <c:v>636.95910000000003</c:v>
                </c:pt>
                <c:pt idx="2">
                  <c:v>300.22039999999998</c:v>
                </c:pt>
                <c:pt idx="3">
                  <c:v>954.865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G$2:$G$7</c:f>
              <c:numCache>
                <c:formatCode>General</c:formatCode>
                <c:ptCount val="6"/>
                <c:pt idx="1">
                  <c:v>548.4786000000000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Total Care De Mexico: All Others</c:v>
                </c:pt>
              </c:strCache>
            </c:strRef>
          </c:cat>
          <c:val>
            <c:numRef>
              <c:f>Sheet1!$B$2:$B$6</c:f>
              <c:numCache>
                <c:formatCode>General</c:formatCode>
                <c:ptCount val="5"/>
                <c:pt idx="1">
                  <c:v>101.95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C$2:$C$6</c:f>
              <c:numCache>
                <c:formatCode>General</c:formatCode>
                <c:ptCount val="5"/>
                <c:pt idx="2">
                  <c:v>96.8773000000000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D$2:$D$6</c:f>
              <c:numCache>
                <c:formatCode>General</c:formatCode>
                <c:ptCount val="5"/>
                <c:pt idx="0">
                  <c:v>169.53790000000001</c:v>
                </c:pt>
                <c:pt idx="1">
                  <c:v>135.8572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E$2:$E$8</c:f>
              <c:numCache>
                <c:formatCode>General</c:formatCode>
                <c:ptCount val="7"/>
                <c:pt idx="0">
                  <c:v>280.43060000000003</c:v>
                </c:pt>
                <c:pt idx="3">
                  <c:v>57.917099999999998</c:v>
                </c:pt>
                <c:pt idx="4">
                  <c:v>57.917099999999998</c:v>
                </c:pt>
                <c:pt idx="5">
                  <c:v>57.917099999999998</c:v>
                </c:pt>
                <c:pt idx="6">
                  <c:v>57.9170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F$2:$F$6</c:f>
              <c:numCache>
                <c:formatCode>General</c:formatCode>
                <c:ptCount val="5"/>
                <c:pt idx="1">
                  <c:v>154.5048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Total Care De Mexico: All Others</c:v>
                </c:pt>
              </c:strCache>
            </c:strRef>
          </c:cat>
          <c:val>
            <c:numRef>
              <c:f>Sheet1!$G$2:$G$6</c:f>
              <c:numCache>
                <c:formatCode>General</c:formatCode>
                <c:ptCount val="5"/>
                <c:pt idx="0">
                  <c:v>273.6866999999999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Total Care De Mexico: All Others</c:v>
                </c:pt>
              </c:strCache>
            </c:strRef>
          </c:cat>
          <c:val>
            <c:numRef>
              <c:f>Sheet1!$H$2:$H$6</c:f>
              <c:numCache>
                <c:formatCode>General</c:formatCode>
                <c:ptCount val="5"/>
                <c:pt idx="0">
                  <c:v>231.357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I$2:$I$6</c:f>
              <c:numCache>
                <c:formatCode>General</c:formatCode>
                <c:ptCount val="5"/>
                <c:pt idx="1">
                  <c:v>97.393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B$2:$B$8</c:f>
              <c:numCache>
                <c:formatCode>General</c:formatCode>
                <c:ptCount val="7"/>
                <c:pt idx="1">
                  <c:v>182.76990000000001</c:v>
                </c:pt>
                <c:pt idx="5">
                  <c:v>74.3605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C$2:$C$8</c:f>
              <c:numCache>
                <c:formatCode>General</c:formatCode>
                <c:ptCount val="7"/>
                <c:pt idx="0">
                  <c:v>175.0946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D$2:$D$8</c:f>
              <c:numCache>
                <c:formatCode>General</c:formatCode>
                <c:ptCount val="7"/>
                <c:pt idx="0">
                  <c:v>253.571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E$2:$E$8</c:f>
              <c:numCache>
                <c:formatCode>General</c:formatCode>
                <c:ptCount val="7"/>
                <c:pt idx="1">
                  <c:v>268.1046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F$2:$F$8</c:f>
              <c:numCache>
                <c:formatCode>General</c:formatCode>
                <c:ptCount val="7"/>
                <c:pt idx="0">
                  <c:v>257.13639999999998</c:v>
                </c:pt>
                <c:pt idx="3">
                  <c:v>304.4295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G$2:$G$8</c:f>
              <c:numCache>
                <c:formatCode>General</c:formatCode>
                <c:ptCount val="7"/>
                <c:pt idx="1">
                  <c:v>270.042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H$2:$H$8</c:f>
              <c:numCache>
                <c:formatCode>General</c:formatCode>
                <c:ptCount val="7"/>
                <c:pt idx="1">
                  <c:v>249.98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I$2:$I$8</c:f>
              <c:numCache>
                <c:formatCode>General</c:formatCode>
                <c:ptCount val="7"/>
                <c:pt idx="2">
                  <c:v>599.6027000000000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J$2:$J$8</c:f>
              <c:numCache>
                <c:formatCode>General</c:formatCode>
                <c:ptCount val="7"/>
                <c:pt idx="0">
                  <c:v>245.85820000000001</c:v>
                </c:pt>
                <c:pt idx="3">
                  <c:v>303.46109999999999</c:v>
                </c:pt>
                <c:pt idx="6">
                  <c:v>244.700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K$2:$K$8</c:f>
              <c:numCache>
                <c:formatCode>General</c:formatCode>
                <c:ptCount val="7"/>
                <c:pt idx="0">
                  <c:v>231.72989999999999</c:v>
                </c:pt>
                <c:pt idx="2">
                  <c:v>582.9502</c:v>
                </c:pt>
                <c:pt idx="4">
                  <c:v>549.83249999999998</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La Roche-Posay</c:v>
                </c:pt>
                <c:pt idx="3">
                  <c:v>Hawaiian Tropic</c:v>
                </c:pt>
                <c:pt idx="4">
                  <c:v>Others Marca Unif.</c:v>
                </c:pt>
                <c:pt idx="5">
                  <c:v>Neutrogena</c:v>
                </c:pt>
                <c:pt idx="6">
                  <c:v>Heliocare</c:v>
                </c:pt>
                <c:pt idx="7">
                  <c:v>Photoderm</c:v>
                </c:pt>
              </c:strCache>
            </c:strRef>
          </c:cat>
          <c:val>
            <c:numRef>
              <c:f>Sheet1!$B$2:$B$9</c:f>
              <c:numCache>
                <c:formatCode>General</c:formatCode>
                <c:ptCount val="8"/>
                <c:pt idx="0">
                  <c:v>174.7715</c:v>
                </c:pt>
                <c:pt idx="4">
                  <c:v>143.35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La Roche-Posay</c:v>
                </c:pt>
                <c:pt idx="3">
                  <c:v>Hawaiian Tropic</c:v>
                </c:pt>
                <c:pt idx="4">
                  <c:v>Others Marca Unif.</c:v>
                </c:pt>
                <c:pt idx="5">
                  <c:v>Neutrogena</c:v>
                </c:pt>
                <c:pt idx="6">
                  <c:v>Heliocare</c:v>
                </c:pt>
                <c:pt idx="7">
                  <c:v>Photoderm</c:v>
                </c:pt>
              </c:strCache>
            </c:strRef>
          </c:cat>
          <c:val>
            <c:numRef>
              <c:f>Sheet1!$C$2:$C$9</c:f>
              <c:numCache>
                <c:formatCode>General</c:formatCode>
                <c:ptCount val="8"/>
                <c:pt idx="0">
                  <c:v>275.49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La Roche-Posay</c:v>
                </c:pt>
                <c:pt idx="3">
                  <c:v>Hawaiian Tropic</c:v>
                </c:pt>
                <c:pt idx="4">
                  <c:v>Others Marca Unif.</c:v>
                </c:pt>
                <c:pt idx="5">
                  <c:v>Neutrogena</c:v>
                </c:pt>
                <c:pt idx="6">
                  <c:v>Heliocare</c:v>
                </c:pt>
                <c:pt idx="7">
                  <c:v>Photoderm</c:v>
                </c:pt>
              </c:strCache>
            </c:strRef>
          </c:cat>
          <c:val>
            <c:numRef>
              <c:f>Sheet1!$D$2:$D$9</c:f>
              <c:numCache>
                <c:formatCode>General</c:formatCode>
                <c:ptCount val="8"/>
                <c:pt idx="3">
                  <c:v>264.1204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La Roche-Posay</c:v>
                </c:pt>
                <c:pt idx="3">
                  <c:v>Hawaiian Tropic</c:v>
                </c:pt>
                <c:pt idx="4">
                  <c:v>Others Marca Unif.</c:v>
                </c:pt>
                <c:pt idx="5">
                  <c:v>Neutrogena</c:v>
                </c:pt>
                <c:pt idx="6">
                  <c:v>Heliocare</c:v>
                </c:pt>
                <c:pt idx="7">
                  <c:v>Photoderm</c:v>
                </c:pt>
              </c:strCache>
            </c:strRef>
          </c:cat>
          <c:val>
            <c:numRef>
              <c:f>Sheet1!$E$2:$E$9</c:f>
              <c:numCache>
                <c:formatCode>General</c:formatCode>
                <c:ptCount val="8"/>
                <c:pt idx="1">
                  <c:v>631.390499999999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La Roche-Posay</c:v>
                </c:pt>
                <c:pt idx="3">
                  <c:v>Hawaiian Tropic</c:v>
                </c:pt>
                <c:pt idx="4">
                  <c:v>Others Marca Unif.</c:v>
                </c:pt>
                <c:pt idx="5">
                  <c:v>Neutrogena</c:v>
                </c:pt>
                <c:pt idx="6">
                  <c:v>Heliocare</c:v>
                </c:pt>
                <c:pt idx="7">
                  <c:v>Photoderm</c:v>
                </c:pt>
              </c:strCache>
            </c:strRef>
          </c:cat>
          <c:val>
            <c:numRef>
              <c:f>Sheet1!$F$2:$F$9</c:f>
              <c:numCache>
                <c:formatCode>General</c:formatCode>
                <c:ptCount val="8"/>
                <c:pt idx="0">
                  <c:v>263.08609999999999</c:v>
                </c:pt>
                <c:pt idx="5">
                  <c:v>320.7362</c:v>
                </c:pt>
                <c:pt idx="7">
                  <c:v>687.479900000000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La Roche-Posay</c:v>
                </c:pt>
                <c:pt idx="3">
                  <c:v>Hawaiian Tropic</c:v>
                </c:pt>
                <c:pt idx="4">
                  <c:v>Others Marca Unif.</c:v>
                </c:pt>
                <c:pt idx="5">
                  <c:v>Neutrogena</c:v>
                </c:pt>
                <c:pt idx="6">
                  <c:v>Heliocare</c:v>
                </c:pt>
                <c:pt idx="7">
                  <c:v>Photoderm</c:v>
                </c:pt>
              </c:strCache>
            </c:strRef>
          </c:cat>
          <c:val>
            <c:numRef>
              <c:f>Sheet1!$G$2:$G$9</c:f>
              <c:numCache>
                <c:formatCode>General</c:formatCode>
                <c:ptCount val="8"/>
                <c:pt idx="0">
                  <c:v>248.50540000000001</c:v>
                </c:pt>
                <c:pt idx="1">
                  <c:v>622.76530000000002</c:v>
                </c:pt>
                <c:pt idx="2">
                  <c:v>617.04939999999999</c:v>
                </c:pt>
                <c:pt idx="4">
                  <c:v>526.50170000000003</c:v>
                </c:pt>
                <c:pt idx="6">
                  <c:v>629.0519000000000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Hawaiian Tropic</c:v>
                </c:pt>
                <c:pt idx="3">
                  <c:v>La Roche-Posay</c:v>
                </c:pt>
                <c:pt idx="4">
                  <c:v>Others Marca Unif.</c:v>
                </c:pt>
                <c:pt idx="5">
                  <c:v>Neutrogena</c:v>
                </c:pt>
                <c:pt idx="6">
                  <c:v>Photoderm</c:v>
                </c:pt>
                <c:pt idx="7">
                  <c:v>Heliocare</c:v>
                </c:pt>
              </c:strCache>
            </c:strRef>
          </c:cat>
          <c:val>
            <c:numRef>
              <c:f>Sheet1!$B$2:$B$9</c:f>
              <c:numCache>
                <c:formatCode>General</c:formatCode>
                <c:ptCount val="8"/>
                <c:pt idx="0">
                  <c:v>173.08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Hawaiian Tropic</c:v>
                </c:pt>
                <c:pt idx="3">
                  <c:v>La Roche-Posay</c:v>
                </c:pt>
                <c:pt idx="4">
                  <c:v>Others Marca Unif.</c:v>
                </c:pt>
                <c:pt idx="5">
                  <c:v>Neutrogena</c:v>
                </c:pt>
                <c:pt idx="6">
                  <c:v>Photoderm</c:v>
                </c:pt>
                <c:pt idx="7">
                  <c:v>Heliocare</c:v>
                </c:pt>
              </c:strCache>
            </c:strRef>
          </c:cat>
          <c:val>
            <c:numRef>
              <c:f>Sheet1!$C$2:$C$9</c:f>
              <c:numCache>
                <c:formatCode>General</c:formatCode>
                <c:ptCount val="8"/>
                <c:pt idx="0">
                  <c:v>275.9941</c:v>
                </c:pt>
                <c:pt idx="5">
                  <c:v>303.0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Hawaiian Tropic</c:v>
                </c:pt>
                <c:pt idx="3">
                  <c:v>La Roche-Posay</c:v>
                </c:pt>
                <c:pt idx="4">
                  <c:v>Others Marca Unif.</c:v>
                </c:pt>
                <c:pt idx="5">
                  <c:v>Neutrogena</c:v>
                </c:pt>
                <c:pt idx="6">
                  <c:v>Photoderm</c:v>
                </c:pt>
                <c:pt idx="7">
                  <c:v>Heliocare</c:v>
                </c:pt>
              </c:strCache>
            </c:strRef>
          </c:cat>
          <c:val>
            <c:numRef>
              <c:f>Sheet1!$D$2:$D$9</c:f>
              <c:numCache>
                <c:formatCode>General</c:formatCode>
                <c:ptCount val="8"/>
                <c:pt idx="2">
                  <c:v>265.9517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Hawaiian Tropic</c:v>
                </c:pt>
                <c:pt idx="3">
                  <c:v>La Roche-Posay</c:v>
                </c:pt>
                <c:pt idx="4">
                  <c:v>Others Marca Unif.</c:v>
                </c:pt>
                <c:pt idx="5">
                  <c:v>Neutrogena</c:v>
                </c:pt>
                <c:pt idx="6">
                  <c:v>Photoderm</c:v>
                </c:pt>
                <c:pt idx="7">
                  <c:v>Heliocare</c:v>
                </c:pt>
              </c:strCache>
            </c:strRef>
          </c:cat>
          <c:val>
            <c:numRef>
              <c:f>Sheet1!$E$2:$E$9</c:f>
              <c:numCache>
                <c:formatCode>General</c:formatCode>
                <c:ptCount val="8"/>
                <c:pt idx="1">
                  <c:v>636.317199999999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Hawaiian Tropic</c:v>
                </c:pt>
                <c:pt idx="3">
                  <c:v>La Roche-Posay</c:v>
                </c:pt>
                <c:pt idx="4">
                  <c:v>Others Marca Unif.</c:v>
                </c:pt>
                <c:pt idx="5">
                  <c:v>Neutrogena</c:v>
                </c:pt>
                <c:pt idx="6">
                  <c:v>Photoderm</c:v>
                </c:pt>
                <c:pt idx="7">
                  <c:v>Heliocare</c:v>
                </c:pt>
              </c:strCache>
            </c:strRef>
          </c:cat>
          <c:val>
            <c:numRef>
              <c:f>Sheet1!$F$2:$F$9</c:f>
              <c:numCache>
                <c:formatCode>General</c:formatCode>
                <c:ptCount val="8"/>
                <c:pt idx="0">
                  <c:v>262.66410000000002</c:v>
                </c:pt>
                <c:pt idx="5">
                  <c:v>321.10570000000001</c:v>
                </c:pt>
                <c:pt idx="6">
                  <c:v>713.510099999999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Hawaiian Tropic</c:v>
                </c:pt>
                <c:pt idx="3">
                  <c:v>La Roche-Posay</c:v>
                </c:pt>
                <c:pt idx="4">
                  <c:v>Others Marca Unif.</c:v>
                </c:pt>
                <c:pt idx="5">
                  <c:v>Neutrogena</c:v>
                </c:pt>
                <c:pt idx="6">
                  <c:v>Photoderm</c:v>
                </c:pt>
                <c:pt idx="7">
                  <c:v>Heliocare</c:v>
                </c:pt>
              </c:strCache>
            </c:strRef>
          </c:cat>
          <c:val>
            <c:numRef>
              <c:f>Sheet1!$G$2:$G$9</c:f>
              <c:numCache>
                <c:formatCode>General</c:formatCode>
                <c:ptCount val="8"/>
                <c:pt idx="0">
                  <c:v>247.4402</c:v>
                </c:pt>
                <c:pt idx="1">
                  <c:v>620.6019</c:v>
                </c:pt>
                <c:pt idx="3">
                  <c:v>624.96720000000005</c:v>
                </c:pt>
                <c:pt idx="4">
                  <c:v>702.53269999999998</c:v>
                </c:pt>
                <c:pt idx="7">
                  <c:v>632.2820000000000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B$2:$B$7</c:f>
              <c:numCache>
                <c:formatCode>General</c:formatCode>
                <c:ptCount val="6"/>
                <c:pt idx="0">
                  <c:v>489.3652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C$2:$C$7</c:f>
              <c:numCache>
                <c:formatCode>General</c:formatCode>
                <c:ptCount val="6"/>
                <c:pt idx="2">
                  <c:v>170.6684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D$2:$D$7</c:f>
              <c:numCache>
                <c:formatCode>General</c:formatCode>
                <c:ptCount val="6"/>
                <c:pt idx="0">
                  <c:v>650.67669999999998</c:v>
                </c:pt>
                <c:pt idx="2">
                  <c:v>336.37580000000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E$2:$E$7</c:f>
              <c:numCache>
                <c:formatCode>General</c:formatCode>
                <c:ptCount val="6"/>
                <c:pt idx="0">
                  <c:v>643.716199999999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F$2:$F$7</c:f>
              <c:numCache>
                <c:formatCode>General</c:formatCode>
                <c:ptCount val="6"/>
                <c:pt idx="3">
                  <c:v>547.59569999999997</c:v>
                </c:pt>
                <c:pt idx="4">
                  <c:v>748.52300000000002</c:v>
                </c:pt>
                <c:pt idx="5">
                  <c:v>345.699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G$2:$G$7</c:f>
              <c:numCache>
                <c:formatCode>General</c:formatCode>
                <c:ptCount val="6"/>
                <c:pt idx="0">
                  <c:v>630.09280000000001</c:v>
                </c:pt>
                <c:pt idx="1">
                  <c:v>633.25800000000004</c:v>
                </c:pt>
                <c:pt idx="2">
                  <c:v>300.22039999999998</c:v>
                </c:pt>
                <c:pt idx="3">
                  <c:v>954.8650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5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H$2:$H$7</c:f>
              <c:numCache>
                <c:formatCode>General</c:formatCode>
                <c:ptCount val="6"/>
                <c:pt idx="1">
                  <c:v>548.4786000000000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6111BA-5886-4980-B0FF-E88CBE397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986560-9D05-4909-8164-B0E05D1C8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735F47-D0C3-4ABB-8A58-6F8CD9513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109585-33E1-4592-AA9A-29CCE811B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C0813B-3531-4ED1-8067-D4D6628E0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939E00-C1F6-40EE-A8A2-3DD893421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A123EC-7691-414A-9354-B22C6F872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A8863B0-A0CF-47C4-931A-74EB42925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52.66800000000001</c:v>
                </c:pt>
                <c:pt idx="1">
                  <c:v>612.90509999999995</c:v>
                </c:pt>
                <c:pt idx="2">
                  <c:v>219.12639999999999</c:v>
                </c:pt>
                <c:pt idx="3">
                  <c:v>629.18399999999997</c:v>
                </c:pt>
                <c:pt idx="4">
                  <c:v>220.91210000000001</c:v>
                </c:pt>
                <c:pt idx="5">
                  <c:v>665.37490000000003</c:v>
                </c:pt>
                <c:pt idx="6">
                  <c:v>679.58199999999999</c:v>
                </c:pt>
                <c:pt idx="7">
                  <c:v>302.15910000000002</c:v>
                </c:pt>
                <c:pt idx="8">
                  <c:v>716.47730000000001</c:v>
                </c:pt>
              </c:numCache>
            </c:numRef>
          </c:xVal>
          <c:yVal>
            <c:numRef>
              <c:f>Sheet1!$B$2:$B$10</c:f>
              <c:numCache>
                <c:formatCode>General</c:formatCode>
                <c:ptCount val="9"/>
                <c:pt idx="0">
                  <c:v>0.71299999999999997</c:v>
                </c:pt>
                <c:pt idx="1">
                  <c:v>2.6619999999999999</c:v>
                </c:pt>
                <c:pt idx="2">
                  <c:v>0.495</c:v>
                </c:pt>
                <c:pt idx="3">
                  <c:v>4.38</c:v>
                </c:pt>
                <c:pt idx="4">
                  <c:v>0.51200000000000001</c:v>
                </c:pt>
                <c:pt idx="5">
                  <c:v>3.778</c:v>
                </c:pt>
                <c:pt idx="6">
                  <c:v>3.1309999999999998</c:v>
                </c:pt>
                <c:pt idx="7">
                  <c:v>1.3540000000000001</c:v>
                </c:pt>
                <c:pt idx="8">
                  <c:v>3.4460000000000002</c:v>
                </c:pt>
              </c:numCache>
            </c:numRef>
          </c:yVal>
          <c:bubbleSize>
            <c:numRef>
              <c:f>Sheet1!$C$2:$C$10</c:f>
              <c:numCache>
                <c:formatCode>General</c:formatCode>
                <c:ptCount val="9"/>
                <c:pt idx="0">
                  <c:v>712991219</c:v>
                </c:pt>
                <c:pt idx="1">
                  <c:v>560154823</c:v>
                </c:pt>
                <c:pt idx="2">
                  <c:v>338199514</c:v>
                </c:pt>
                <c:pt idx="3">
                  <c:v>334290507</c:v>
                </c:pt>
                <c:pt idx="4">
                  <c:v>289054849</c:v>
                </c:pt>
                <c:pt idx="5">
                  <c:v>240875045</c:v>
                </c:pt>
                <c:pt idx="6">
                  <c:v>199973121</c:v>
                </c:pt>
                <c:pt idx="7">
                  <c:v>160315326</c:v>
                </c:pt>
                <c:pt idx="8">
                  <c:v>11069215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Neutrogena</c:v>
                  </c:pt>
                  <c:pt idx="8">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0"/>
          <c:min val="17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Total Care De Mexico: All Others</c:v>
                </c:pt>
              </c:strCache>
            </c:strRef>
          </c:cat>
          <c:val>
            <c:numRef>
              <c:f>Sheet1!$B$2:$B$6</c:f>
              <c:numCache>
                <c:formatCode>General</c:formatCode>
                <c:ptCount val="5"/>
                <c:pt idx="1">
                  <c:v>101.95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C$2:$C$6</c:f>
              <c:numCache>
                <c:formatCode>General</c:formatCode>
                <c:ptCount val="5"/>
                <c:pt idx="2">
                  <c:v>96.8773000000000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D$2:$D$6</c:f>
              <c:numCache>
                <c:formatCode>General</c:formatCode>
                <c:ptCount val="5"/>
                <c:pt idx="0">
                  <c:v>169.53790000000001</c:v>
                </c:pt>
                <c:pt idx="1">
                  <c:v>135.8572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E$2:$E$8</c:f>
              <c:numCache>
                <c:formatCode>General</c:formatCode>
                <c:ptCount val="7"/>
                <c:pt idx="0">
                  <c:v>280.43060000000003</c:v>
                </c:pt>
                <c:pt idx="3">
                  <c:v>57.917099999999998</c:v>
                </c:pt>
                <c:pt idx="4">
                  <c:v>57.917099999999998</c:v>
                </c:pt>
                <c:pt idx="5">
                  <c:v>57.917099999999998</c:v>
                </c:pt>
                <c:pt idx="6">
                  <c:v>57.9170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F$2:$F$6</c:f>
              <c:numCache>
                <c:formatCode>General</c:formatCode>
                <c:ptCount val="5"/>
                <c:pt idx="1">
                  <c:v>154.5048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Total Care De Mexico: All Others</c:v>
                </c:pt>
              </c:strCache>
            </c:strRef>
          </c:cat>
          <c:val>
            <c:numRef>
              <c:f>Sheet1!$G$2:$G$6</c:f>
              <c:numCache>
                <c:formatCode>General</c:formatCode>
                <c:ptCount val="5"/>
                <c:pt idx="0">
                  <c:v>277.8725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Total Care De Mexico: All Others</c:v>
                </c:pt>
              </c:strCache>
            </c:strRef>
          </c:cat>
          <c:val>
            <c:numRef>
              <c:f>Sheet1!$H$2:$H$6</c:f>
              <c:numCache>
                <c:formatCode>General</c:formatCode>
                <c:ptCount val="5"/>
                <c:pt idx="0">
                  <c:v>231.357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I$2:$I$6</c:f>
              <c:numCache>
                <c:formatCode>General</c:formatCode>
                <c:ptCount val="5"/>
                <c:pt idx="1">
                  <c:v>97.393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B$2:$B$8</c:f>
              <c:numCache>
                <c:formatCode>General</c:formatCode>
                <c:ptCount val="7"/>
                <c:pt idx="1">
                  <c:v>182.76990000000001</c:v>
                </c:pt>
                <c:pt idx="5">
                  <c:v>74.3605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C$2:$C$8</c:f>
              <c:numCache>
                <c:formatCode>General</c:formatCode>
                <c:ptCount val="7"/>
                <c:pt idx="0">
                  <c:v>175.0946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D$2:$D$8</c:f>
              <c:numCache>
                <c:formatCode>General</c:formatCode>
                <c:ptCount val="7"/>
                <c:pt idx="0">
                  <c:v>253.575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E$2:$E$8</c:f>
              <c:numCache>
                <c:formatCode>General</c:formatCode>
                <c:ptCount val="7"/>
                <c:pt idx="1">
                  <c:v>268.102700000000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F$2:$F$8</c:f>
              <c:numCache>
                <c:formatCode>General</c:formatCode>
                <c:ptCount val="7"/>
                <c:pt idx="0">
                  <c:v>262.10059999999999</c:v>
                </c:pt>
                <c:pt idx="3">
                  <c:v>304.4295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G$2:$G$8</c:f>
              <c:numCache>
                <c:formatCode>General</c:formatCode>
                <c:ptCount val="7"/>
                <c:pt idx="1">
                  <c:v>270.042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H$2:$H$8</c:f>
              <c:numCache>
                <c:formatCode>General</c:formatCode>
                <c:ptCount val="7"/>
                <c:pt idx="1">
                  <c:v>257.937700000000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I$2:$I$8</c:f>
              <c:numCache>
                <c:formatCode>General</c:formatCode>
                <c:ptCount val="7"/>
                <c:pt idx="2">
                  <c:v>599.6027000000000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J$2:$J$8</c:f>
              <c:numCache>
                <c:formatCode>General</c:formatCode>
                <c:ptCount val="7"/>
                <c:pt idx="0">
                  <c:v>245.85820000000001</c:v>
                </c:pt>
                <c:pt idx="3">
                  <c:v>306.64359999999999</c:v>
                </c:pt>
                <c:pt idx="6">
                  <c:v>247.2052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K$2:$K$8</c:f>
              <c:numCache>
                <c:formatCode>General</c:formatCode>
                <c:ptCount val="7"/>
                <c:pt idx="0">
                  <c:v>231.72989999999999</c:v>
                </c:pt>
                <c:pt idx="2">
                  <c:v>582.9502</c:v>
                </c:pt>
                <c:pt idx="4">
                  <c:v>566.588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L$2:$L$8</c:f>
              <c:numCache>
                <c:formatCode>General</c:formatCode>
                <c:ptCount val="7"/>
                <c:pt idx="1">
                  <c:v>96.260800000000003</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ivea</c:v>
                </c:pt>
                <c:pt idx="2">
                  <c:v>Neutrogena</c:v>
                </c:pt>
                <c:pt idx="3">
                  <c:v>Others Marca Unif.</c:v>
                </c:pt>
                <c:pt idx="4">
                  <c:v>La Roche-Posay</c:v>
                </c:pt>
                <c:pt idx="5">
                  <c:v>Eucerin</c:v>
                </c:pt>
                <c:pt idx="6">
                  <c:v>Hawaiian Tropic</c:v>
                </c:pt>
                <c:pt idx="7">
                  <c:v>Heliocare</c:v>
                </c:pt>
                <c:pt idx="8">
                  <c:v>Photoderm</c:v>
                </c:pt>
              </c:strCache>
            </c:strRef>
          </c:cat>
          <c:val>
            <c:numRef>
              <c:f>Sheet1!$B$2:$B$10</c:f>
              <c:numCache>
                <c:formatCode>General</c:formatCode>
                <c:ptCount val="9"/>
                <c:pt idx="2">
                  <c:v>229.3591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ivea</c:v>
                </c:pt>
                <c:pt idx="2">
                  <c:v>Neutrogena</c:v>
                </c:pt>
                <c:pt idx="3">
                  <c:v>Others Marca Unif.</c:v>
                </c:pt>
                <c:pt idx="4">
                  <c:v>La Roche-Posay</c:v>
                </c:pt>
                <c:pt idx="5">
                  <c:v>Eucerin</c:v>
                </c:pt>
                <c:pt idx="6">
                  <c:v>Hawaiian Tropic</c:v>
                </c:pt>
                <c:pt idx="7">
                  <c:v>Heliocare</c:v>
                </c:pt>
                <c:pt idx="8">
                  <c:v>Photoderm</c:v>
                </c:pt>
              </c:strCache>
            </c:strRef>
          </c:cat>
          <c:val>
            <c:numRef>
              <c:f>Sheet1!$C$2:$C$10</c:f>
              <c:numCache>
                <c:formatCode>General</c:formatCode>
                <c:ptCount val="9"/>
                <c:pt idx="3">
                  <c:v>143.35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ivea</c:v>
                </c:pt>
                <c:pt idx="2">
                  <c:v>Neutrogena</c:v>
                </c:pt>
                <c:pt idx="3">
                  <c:v>Others Marca Unif.</c:v>
                </c:pt>
                <c:pt idx="4">
                  <c:v>La Roche-Posay</c:v>
                </c:pt>
                <c:pt idx="5">
                  <c:v>Eucerin</c:v>
                </c:pt>
                <c:pt idx="6">
                  <c:v>Hawaiian Tropic</c:v>
                </c:pt>
                <c:pt idx="7">
                  <c:v>Heliocare</c:v>
                </c:pt>
                <c:pt idx="8">
                  <c:v>Photoderm</c:v>
                </c:pt>
              </c:strCache>
            </c:strRef>
          </c:cat>
          <c:val>
            <c:numRef>
              <c:f>Sheet1!$D$2:$D$10</c:f>
              <c:numCache>
                <c:formatCode>General</c:formatCode>
                <c:ptCount val="9"/>
                <c:pt idx="1">
                  <c:v>272.27429999999998</c:v>
                </c:pt>
                <c:pt idx="2">
                  <c:v>302.91320000000002</c:v>
                </c:pt>
                <c:pt idx="5">
                  <c:v>740.6515000000000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ivea</c:v>
                </c:pt>
                <c:pt idx="2">
                  <c:v>Neutrogena</c:v>
                </c:pt>
                <c:pt idx="3">
                  <c:v>Others Marca Unif.</c:v>
                </c:pt>
                <c:pt idx="4">
                  <c:v>La Roche-Posay</c:v>
                </c:pt>
                <c:pt idx="5">
                  <c:v>Eucerin</c:v>
                </c:pt>
                <c:pt idx="6">
                  <c:v>Hawaiian Tropic</c:v>
                </c:pt>
                <c:pt idx="7">
                  <c:v>Heliocare</c:v>
                </c:pt>
                <c:pt idx="8">
                  <c:v>Photoderm</c:v>
                </c:pt>
              </c:strCache>
            </c:strRef>
          </c:cat>
          <c:val>
            <c:numRef>
              <c:f>Sheet1!$E$2:$E$10</c:f>
              <c:numCache>
                <c:formatCode>General</c:formatCode>
                <c:ptCount val="9"/>
                <c:pt idx="6">
                  <c:v>264.6374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ivea</c:v>
                </c:pt>
                <c:pt idx="2">
                  <c:v>Neutrogena</c:v>
                </c:pt>
                <c:pt idx="3">
                  <c:v>Others Marca Unif.</c:v>
                </c:pt>
                <c:pt idx="4">
                  <c:v>La Roche-Posay</c:v>
                </c:pt>
                <c:pt idx="5">
                  <c:v>Eucerin</c:v>
                </c:pt>
                <c:pt idx="6">
                  <c:v>Hawaiian Tropic</c:v>
                </c:pt>
                <c:pt idx="7">
                  <c:v>Heliocare</c:v>
                </c:pt>
                <c:pt idx="8">
                  <c:v>Photoderm</c:v>
                </c:pt>
              </c:strCache>
            </c:strRef>
          </c:cat>
          <c:val>
            <c:numRef>
              <c:f>Sheet1!$F$2:$F$10</c:f>
              <c:numCache>
                <c:formatCode>General</c:formatCode>
                <c:ptCount val="9"/>
                <c:pt idx="1">
                  <c:v>263.86959999999999</c:v>
                </c:pt>
                <c:pt idx="2">
                  <c:v>320.7362</c:v>
                </c:pt>
                <c:pt idx="3">
                  <c:v>522.40150000000006</c:v>
                </c:pt>
                <c:pt idx="8">
                  <c:v>699.9145999999999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ivea</c:v>
                </c:pt>
                <c:pt idx="2">
                  <c:v>Neutrogena</c:v>
                </c:pt>
                <c:pt idx="3">
                  <c:v>Others Marca Unif.</c:v>
                </c:pt>
                <c:pt idx="4">
                  <c:v>La Roche-Posay</c:v>
                </c:pt>
                <c:pt idx="5">
                  <c:v>Eucerin</c:v>
                </c:pt>
                <c:pt idx="6">
                  <c:v>Hawaiian Tropic</c:v>
                </c:pt>
                <c:pt idx="7">
                  <c:v>Heliocare</c:v>
                </c:pt>
                <c:pt idx="8">
                  <c:v>Photoderm</c:v>
                </c:pt>
              </c:strCache>
            </c:strRef>
          </c:cat>
          <c:val>
            <c:numRef>
              <c:f>Sheet1!$G$2:$G$10</c:f>
              <c:numCache>
                <c:formatCode>General</c:formatCode>
                <c:ptCount val="9"/>
                <c:pt idx="0">
                  <c:v>616.96550000000002</c:v>
                </c:pt>
                <c:pt idx="1">
                  <c:v>248.50540000000001</c:v>
                </c:pt>
                <c:pt idx="4">
                  <c:v>649.2944</c:v>
                </c:pt>
                <c:pt idx="7">
                  <c:v>624.0619000000000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hotoderm</c:v>
                </c:pt>
                <c:pt idx="1">
                  <c:v>Nivea</c:v>
                </c:pt>
              </c:strCache>
            </c:strRef>
          </c:cat>
          <c:val>
            <c:numRef>
              <c:f>Sheet1!$B$2:$B$3</c:f>
              <c:numCache>
                <c:formatCode>General</c:formatCode>
                <c:ptCount val="2"/>
                <c:pt idx="0">
                  <c:v>605.51239999999996</c:v>
                </c:pt>
                <c:pt idx="1">
                  <c:v>261.595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hotoderm</c:v>
                </c:pt>
                <c:pt idx="1">
                  <c:v>Others Marca Unif.</c:v>
                </c:pt>
              </c:strCache>
            </c:strRef>
          </c:cat>
          <c:val>
            <c:numRef>
              <c:f>Sheet1!$B$2:$B$3</c:f>
              <c:numCache>
                <c:formatCode>General</c:formatCode>
                <c:ptCount val="2"/>
                <c:pt idx="0">
                  <c:v>721.475199999999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6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Photoderm</c:v>
                </c:pt>
                <c:pt idx="1">
                  <c:v>Others Marca Unif.</c:v>
                </c:pt>
              </c:strCache>
            </c:strRef>
          </c:cat>
          <c:val>
            <c:numRef>
              <c:f>Sheet1!$C$2:$C$3</c:f>
              <c:numCache>
                <c:formatCode>General</c:formatCode>
                <c:ptCount val="2"/>
                <c:pt idx="1">
                  <c:v>599.8134999999999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Others Marca Unif.</c:v>
                </c:pt>
                <c:pt idx="3">
                  <c:v>Loreal Paris</c:v>
                </c:pt>
                <c:pt idx="4">
                  <c:v>Isdin</c:v>
                </c:pt>
              </c:strCache>
            </c:strRef>
          </c:cat>
          <c:val>
            <c:numRef>
              <c:f>Sheet1!$B$2:$B$6</c:f>
              <c:numCache>
                <c:formatCode>General</c:formatCode>
                <c:ptCount val="5"/>
                <c:pt idx="4">
                  <c:v>608.763900000000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Others Marca Unif.</c:v>
                </c:pt>
                <c:pt idx="3">
                  <c:v>Loreal Paris</c:v>
                </c:pt>
                <c:pt idx="4">
                  <c:v>Isdin</c:v>
                </c:pt>
              </c:strCache>
            </c:strRef>
          </c:cat>
          <c:val>
            <c:numRef>
              <c:f>Sheet1!$C$2:$C$6</c:f>
              <c:numCache>
                <c:formatCode>General</c:formatCode>
                <c:ptCount val="5"/>
                <c:pt idx="2">
                  <c:v>671.962700000000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Others Marca Unif.</c:v>
                </c:pt>
                <c:pt idx="3">
                  <c:v>Loreal Paris</c:v>
                </c:pt>
                <c:pt idx="4">
                  <c:v>Isdin</c:v>
                </c:pt>
              </c:strCache>
            </c:strRef>
          </c:cat>
          <c:val>
            <c:numRef>
              <c:f>Sheet1!$D$2:$D$6</c:f>
              <c:numCache>
                <c:formatCode>General</c:formatCode>
                <c:ptCount val="5"/>
                <c:pt idx="0">
                  <c:v>174.77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Others Marca Unif.</c:v>
                </c:pt>
                <c:pt idx="3">
                  <c:v>Loreal Paris</c:v>
                </c:pt>
                <c:pt idx="4">
                  <c:v>Isdin</c:v>
                </c:pt>
              </c:strCache>
            </c:strRef>
          </c:cat>
          <c:val>
            <c:numRef>
              <c:f>Sheet1!$E$2:$E$6</c:f>
              <c:numCache>
                <c:formatCode>General</c:formatCode>
                <c:ptCount val="5"/>
                <c:pt idx="1">
                  <c:v>267.1381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Others Marca Unif.</c:v>
                </c:pt>
                <c:pt idx="3">
                  <c:v>Loreal Paris</c:v>
                </c:pt>
                <c:pt idx="4">
                  <c:v>Isdin</c:v>
                </c:pt>
              </c:strCache>
            </c:strRef>
          </c:cat>
          <c:val>
            <c:numRef>
              <c:f>Sheet1!$F$2:$F$6</c:f>
              <c:numCache>
                <c:formatCode>General</c:formatCode>
                <c:ptCount val="5"/>
                <c:pt idx="0">
                  <c:v>277.1542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Others Marca Unif.</c:v>
                </c:pt>
                <c:pt idx="3">
                  <c:v>Loreal Paris</c:v>
                </c:pt>
                <c:pt idx="4">
                  <c:v>Isdin</c:v>
                </c:pt>
              </c:strCache>
            </c:strRef>
          </c:cat>
          <c:val>
            <c:numRef>
              <c:f>Sheet1!$G$2:$G$6</c:f>
              <c:numCache>
                <c:formatCode>General</c:formatCode>
                <c:ptCount val="5"/>
                <c:pt idx="1">
                  <c:v>277.874900000000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Others Marca Unif.</c:v>
                </c:pt>
                <c:pt idx="3">
                  <c:v>Loreal Paris</c:v>
                </c:pt>
                <c:pt idx="4">
                  <c:v>Isdin</c:v>
                </c:pt>
              </c:strCache>
            </c:strRef>
          </c:cat>
          <c:val>
            <c:numRef>
              <c:f>Sheet1!$H$2:$H$6</c:f>
              <c:numCache>
                <c:formatCode>General</c:formatCode>
                <c:ptCount val="5"/>
                <c:pt idx="1">
                  <c:v>263.7314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Others Marca Unif.</c:v>
                </c:pt>
                <c:pt idx="3">
                  <c:v>Loreal Paris</c:v>
                </c:pt>
                <c:pt idx="4">
                  <c:v>Isdin</c:v>
                </c:pt>
              </c:strCache>
            </c:strRef>
          </c:cat>
          <c:val>
            <c:numRef>
              <c:f>Sheet1!$I$2:$I$6</c:f>
              <c:numCache>
                <c:formatCode>General</c:formatCode>
                <c:ptCount val="5"/>
                <c:pt idx="3">
                  <c:v>242.578399999999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Others Marca Unif.</c:v>
                </c:pt>
                <c:pt idx="3">
                  <c:v>Loreal Paris</c:v>
                </c:pt>
                <c:pt idx="4">
                  <c:v>Isdin</c:v>
                </c:pt>
              </c:strCache>
            </c:strRef>
          </c:cat>
          <c:val>
            <c:numRef>
              <c:f>Sheet1!$J$2:$J$6</c:f>
              <c:numCache>
                <c:formatCode>General</c:formatCode>
                <c:ptCount val="5"/>
                <c:pt idx="2">
                  <c:v>995.14729999999997</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Mustela</c:v>
                </c:pt>
              </c:strCache>
            </c:strRef>
          </c:cat>
          <c:val>
            <c:numRef>
              <c:f>Sheet1!$B$2:$B$3</c:f>
              <c:numCache>
                <c:formatCode>General</c:formatCode>
                <c:ptCount val="2"/>
                <c:pt idx="1">
                  <c:v>430.862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Mustela</c:v>
                </c:pt>
              </c:strCache>
            </c:strRef>
          </c:cat>
          <c:val>
            <c:numRef>
              <c:f>Sheet1!$C$2:$C$3</c:f>
              <c:numCache>
                <c:formatCode>General</c:formatCode>
                <c:ptCount val="2"/>
                <c:pt idx="0">
                  <c:v>291.5434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cat>
            <c:strRef>
              <c:f>Sheet1!$A$2:$A$3</c:f>
              <c:strCache>
                <c:ptCount val="2"/>
                <c:pt idx="0">
                  <c:v>Others Marca Unif.</c:v>
                </c:pt>
                <c:pt idx="1">
                  <c:v>Mustela</c:v>
                </c:pt>
              </c:strCache>
            </c:strRef>
          </c:cat>
          <c:val>
            <c:numRef>
              <c:f>Sheet1!$D$2:$D$3</c:f>
              <c:numCache>
                <c:formatCode>General</c:formatCode>
                <c:ptCount val="2"/>
                <c:pt idx="1">
                  <c:v>387.6241999999999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cat>
            <c:strRef>
              <c:f>Sheet1!$A$2:$A$2</c:f>
              <c:strCache>
                <c:ptCount val="1"/>
                <c:pt idx="0">
                  <c:v>Photoderm</c:v>
                </c:pt>
              </c:strCache>
            </c:strRef>
          </c:cat>
          <c:val>
            <c:numRef>
              <c:f>Sheet1!$B$2:$B$2</c:f>
              <c:numCache>
                <c:formatCode>General</c:formatCode>
                <c:ptCount val="1"/>
                <c:pt idx="0">
                  <c:v>705.414200000000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Photoderm</c:v>
                </c:pt>
              </c:strCache>
            </c:strRef>
          </c:cat>
          <c:val>
            <c:numRef>
              <c:f>Sheet1!$C$2:$C$2</c:f>
              <c:numCache>
                <c:formatCode>General</c:formatCode>
                <c:ptCount val="1"/>
                <c:pt idx="0">
                  <c:v>826.040899999999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Photoderm</c:v>
                </c:pt>
              </c:strCache>
            </c:strRef>
          </c:cat>
          <c:val>
            <c:numRef>
              <c:f>Sheet1!$D$2:$D$2</c:f>
              <c:numCache>
                <c:formatCode>General</c:formatCode>
                <c:ptCount val="1"/>
                <c:pt idx="0">
                  <c:v>718.0614000000000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Photoderm</c:v>
                </c:pt>
              </c:strCache>
            </c:strRef>
          </c:cat>
          <c:val>
            <c:numRef>
              <c:f>Sheet1!$E$2:$E$2</c:f>
              <c:numCache>
                <c:formatCode>General</c:formatCode>
                <c:ptCount val="1"/>
                <c:pt idx="0">
                  <c:v>625.6010999999999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ivea</c:v>
                </c:pt>
                <c:pt idx="2">
                  <c:v>Neutrogena</c:v>
                </c:pt>
                <c:pt idx="3">
                  <c:v>Hawaiian Tropic</c:v>
                </c:pt>
                <c:pt idx="4">
                  <c:v>Eucerin</c:v>
                </c:pt>
                <c:pt idx="5">
                  <c:v>La Roche-Posay</c:v>
                </c:pt>
                <c:pt idx="6">
                  <c:v>Others Marca Unif.</c:v>
                </c:pt>
                <c:pt idx="7">
                  <c:v>Vichy</c:v>
                </c:pt>
                <c:pt idx="8">
                  <c:v>Photoderm</c:v>
                </c:pt>
              </c:strCache>
            </c:strRef>
          </c:cat>
          <c:val>
            <c:numRef>
              <c:f>Sheet1!$B$2:$B$10</c:f>
              <c:numCache>
                <c:formatCode>General</c:formatCode>
                <c:ptCount val="9"/>
                <c:pt idx="2">
                  <c:v>229.79169999999999</c:v>
                </c:pt>
                <c:pt idx="3">
                  <c:v>182.129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ivea</c:v>
                </c:pt>
                <c:pt idx="2">
                  <c:v>Neutrogena</c:v>
                </c:pt>
                <c:pt idx="3">
                  <c:v>Hawaiian Tropic</c:v>
                </c:pt>
                <c:pt idx="4">
                  <c:v>Eucerin</c:v>
                </c:pt>
                <c:pt idx="5">
                  <c:v>La Roche-Posay</c:v>
                </c:pt>
                <c:pt idx="6">
                  <c:v>Others Marca Unif.</c:v>
                </c:pt>
                <c:pt idx="7">
                  <c:v>Vichy</c:v>
                </c:pt>
                <c:pt idx="8">
                  <c:v>Photoderm</c:v>
                </c:pt>
              </c:strCache>
            </c:strRef>
          </c:cat>
          <c:val>
            <c:numRef>
              <c:f>Sheet1!$C$2:$C$10</c:f>
              <c:numCache>
                <c:formatCode>General</c:formatCode>
                <c:ptCount val="9"/>
                <c:pt idx="1">
                  <c:v>271.95260000000002</c:v>
                </c:pt>
                <c:pt idx="2">
                  <c:v>303.089</c:v>
                </c:pt>
                <c:pt idx="4">
                  <c:v>751.2727999999999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ivea</c:v>
                </c:pt>
                <c:pt idx="2">
                  <c:v>Neutrogena</c:v>
                </c:pt>
                <c:pt idx="3">
                  <c:v>Hawaiian Tropic</c:v>
                </c:pt>
                <c:pt idx="4">
                  <c:v>Eucerin</c:v>
                </c:pt>
                <c:pt idx="5">
                  <c:v>La Roche-Posay</c:v>
                </c:pt>
                <c:pt idx="6">
                  <c:v>Others Marca Unif.</c:v>
                </c:pt>
                <c:pt idx="7">
                  <c:v>Vichy</c:v>
                </c:pt>
                <c:pt idx="8">
                  <c:v>Photoderm</c:v>
                </c:pt>
              </c:strCache>
            </c:strRef>
          </c:cat>
          <c:val>
            <c:numRef>
              <c:f>Sheet1!$D$2:$D$10</c:f>
              <c:numCache>
                <c:formatCode>General</c:formatCode>
                <c:ptCount val="9"/>
                <c:pt idx="3">
                  <c:v>267.2907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ivea</c:v>
                </c:pt>
                <c:pt idx="2">
                  <c:v>Neutrogena</c:v>
                </c:pt>
                <c:pt idx="3">
                  <c:v>Hawaiian Tropic</c:v>
                </c:pt>
                <c:pt idx="4">
                  <c:v>Eucerin</c:v>
                </c:pt>
                <c:pt idx="5">
                  <c:v>La Roche-Posay</c:v>
                </c:pt>
                <c:pt idx="6">
                  <c:v>Others Marca Unif.</c:v>
                </c:pt>
                <c:pt idx="7">
                  <c:v>Vichy</c:v>
                </c:pt>
                <c:pt idx="8">
                  <c:v>Photoderm</c:v>
                </c:pt>
              </c:strCache>
            </c:strRef>
          </c:cat>
          <c:val>
            <c:numRef>
              <c:f>Sheet1!$E$2:$E$10</c:f>
              <c:numCache>
                <c:formatCode>General</c:formatCode>
                <c:ptCount val="9"/>
                <c:pt idx="7">
                  <c:v>878.904999999999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Isdin</c:v>
                </c:pt>
                <c:pt idx="1">
                  <c:v>Nivea</c:v>
                </c:pt>
                <c:pt idx="2">
                  <c:v>Neutrogena</c:v>
                </c:pt>
                <c:pt idx="3">
                  <c:v>Hawaiian Tropic</c:v>
                </c:pt>
                <c:pt idx="4">
                  <c:v>Eucerin</c:v>
                </c:pt>
                <c:pt idx="5">
                  <c:v>La Roche-Posay</c:v>
                </c:pt>
                <c:pt idx="6">
                  <c:v>Others Marca Unif.</c:v>
                </c:pt>
                <c:pt idx="7">
                  <c:v>Vichy</c:v>
                </c:pt>
                <c:pt idx="8">
                  <c:v>Photoderm</c:v>
                </c:pt>
              </c:strCache>
            </c:strRef>
          </c:cat>
          <c:val>
            <c:numRef>
              <c:f>Sheet1!$F$2:$F$10</c:f>
              <c:numCache>
                <c:formatCode>General</c:formatCode>
                <c:ptCount val="9"/>
                <c:pt idx="1">
                  <c:v>262.75400000000002</c:v>
                </c:pt>
                <c:pt idx="2">
                  <c:v>321.10570000000001</c:v>
                </c:pt>
                <c:pt idx="6">
                  <c:v>529.21280000000002</c:v>
                </c:pt>
                <c:pt idx="8">
                  <c:v>725.8997000000000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Isdin</c:v>
                </c:pt>
                <c:pt idx="1">
                  <c:v>Nivea</c:v>
                </c:pt>
                <c:pt idx="2">
                  <c:v>Neutrogena</c:v>
                </c:pt>
                <c:pt idx="3">
                  <c:v>Hawaiian Tropic</c:v>
                </c:pt>
                <c:pt idx="4">
                  <c:v>Eucerin</c:v>
                </c:pt>
                <c:pt idx="5">
                  <c:v>La Roche-Posay</c:v>
                </c:pt>
                <c:pt idx="6">
                  <c:v>Others Marca Unif.</c:v>
                </c:pt>
                <c:pt idx="7">
                  <c:v>Vichy</c:v>
                </c:pt>
                <c:pt idx="8">
                  <c:v>Photoderm</c:v>
                </c:pt>
              </c:strCache>
            </c:strRef>
          </c:cat>
          <c:val>
            <c:numRef>
              <c:f>Sheet1!$G$2:$G$10</c:f>
              <c:numCache>
                <c:formatCode>General</c:formatCode>
                <c:ptCount val="9"/>
                <c:pt idx="0">
                  <c:v>618.10490000000004</c:v>
                </c:pt>
                <c:pt idx="1">
                  <c:v>247.4402</c:v>
                </c:pt>
                <c:pt idx="4">
                  <c:v>689.12310000000002</c:v>
                </c:pt>
                <c:pt idx="5">
                  <c:v>665.4034000000000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hotoderm</c:v>
                </c:pt>
                <c:pt idx="1">
                  <c:v>Nivea</c:v>
                </c:pt>
              </c:strCache>
            </c:strRef>
          </c:cat>
          <c:val>
            <c:numRef>
              <c:f>Sheet1!$B$2:$B$3</c:f>
              <c:numCache>
                <c:formatCode>General</c:formatCode>
                <c:ptCount val="2"/>
                <c:pt idx="0">
                  <c:v>623.85310000000004</c:v>
                </c:pt>
                <c:pt idx="1">
                  <c:v>262.4993999999999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8D60F3-8099-49CD-AA33-96933BC87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DAB1DE-C125-4750-8FFB-FC20A6EE0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68E94D-6893-4D7F-B395-FDB104DA0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D5A5E2-0813-4982-9BAB-5BC406A0F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82EAB9-A2B8-4F02-814B-2D8AC78C0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08F060-9B48-4B20-99EE-B427CD7D7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386BA3-7492-4A52-81FE-FA35A6548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89D123-2573-4696-8F8E-8B45D5A6C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21.58029999999997</c:v>
                </c:pt>
                <c:pt idx="1">
                  <c:v>640.02089999999998</c:v>
                </c:pt>
                <c:pt idx="2">
                  <c:v>685.56870000000004</c:v>
                </c:pt>
                <c:pt idx="3">
                  <c:v>284.22660000000002</c:v>
                </c:pt>
                <c:pt idx="4">
                  <c:v>702.84829999999999</c:v>
                </c:pt>
                <c:pt idx="5">
                  <c:v>629.3922</c:v>
                </c:pt>
                <c:pt idx="6">
                  <c:v>743.65520000000004</c:v>
                </c:pt>
                <c:pt idx="7">
                  <c:v>251.89150000000001</c:v>
                </c:pt>
                <c:pt idx="8">
                  <c:v>204.7139</c:v>
                </c:pt>
              </c:numCache>
            </c:numRef>
          </c:xVal>
          <c:yVal>
            <c:numRef>
              <c:f>Sheet1!$B$2:$B$10</c:f>
              <c:numCache>
                <c:formatCode>General</c:formatCode>
                <c:ptCount val="9"/>
                <c:pt idx="0">
                  <c:v>1.554</c:v>
                </c:pt>
                <c:pt idx="1">
                  <c:v>2.609</c:v>
                </c:pt>
                <c:pt idx="2">
                  <c:v>2.2949999999999999</c:v>
                </c:pt>
                <c:pt idx="3">
                  <c:v>0.496</c:v>
                </c:pt>
                <c:pt idx="4">
                  <c:v>1.877</c:v>
                </c:pt>
                <c:pt idx="5">
                  <c:v>2.8340000000000001</c:v>
                </c:pt>
                <c:pt idx="6">
                  <c:v>2.0049999999999999</c:v>
                </c:pt>
                <c:pt idx="7">
                  <c:v>0.29899999999999999</c:v>
                </c:pt>
                <c:pt idx="8">
                  <c:v>0.33400000000000002</c:v>
                </c:pt>
              </c:numCache>
            </c:numRef>
          </c:yVal>
          <c:bubbleSize>
            <c:numRef>
              <c:f>Sheet1!$C$2:$C$10</c:f>
              <c:numCache>
                <c:formatCode>General</c:formatCode>
                <c:ptCount val="9"/>
                <c:pt idx="0">
                  <c:v>452020654</c:v>
                </c:pt>
                <c:pt idx="1">
                  <c:v>289763721</c:v>
                </c:pt>
                <c:pt idx="2">
                  <c:v>201647013</c:v>
                </c:pt>
                <c:pt idx="3">
                  <c:v>187539514</c:v>
                </c:pt>
                <c:pt idx="4">
                  <c:v>176210394</c:v>
                </c:pt>
                <c:pt idx="5">
                  <c:v>105982088</c:v>
                </c:pt>
                <c:pt idx="6">
                  <c:v>98950018</c:v>
                </c:pt>
                <c:pt idx="7">
                  <c:v>91049215</c:v>
                </c:pt>
                <c:pt idx="8">
                  <c:v>83479659</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ucerin</c:v>
                  </c:pt>
                  <c:pt idx="3">
                    <c:v>Nivea</c:v>
                  </c:pt>
                  <c:pt idx="4">
                    <c:v>Avene</c:v>
                  </c:pt>
                  <c:pt idx="5">
                    <c:v>Heliocare</c:v>
                  </c:pt>
                  <c:pt idx="6">
                    <c:v>Photoderm</c:v>
                  </c:pt>
                  <c:pt idx="7">
                    <c:v>Hawaiian Tropic</c:v>
                  </c:pt>
                  <c:pt idx="8">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2"/>
          <c:min val="1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hotoderm</c:v>
                </c:pt>
                <c:pt idx="1">
                  <c:v>Others Marca Unif.</c:v>
                </c:pt>
              </c:strCache>
            </c:strRef>
          </c:cat>
          <c:val>
            <c:numRef>
              <c:f>Sheet1!$B$2:$B$3</c:f>
              <c:numCache>
                <c:formatCode>General</c:formatCode>
                <c:ptCount val="2"/>
                <c:pt idx="0">
                  <c:v>752.565799999999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6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Photoderm</c:v>
                </c:pt>
                <c:pt idx="1">
                  <c:v>Others Marca Unif.</c:v>
                </c:pt>
              </c:strCache>
            </c:strRef>
          </c:cat>
          <c:val>
            <c:numRef>
              <c:f>Sheet1!$C$2:$C$3</c:f>
              <c:numCache>
                <c:formatCode>General</c:formatCode>
                <c:ptCount val="2"/>
                <c:pt idx="1">
                  <c:v>609.6534000000000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Others Marca Unif.</c:v>
                </c:pt>
                <c:pt idx="3">
                  <c:v>Loreal Paris</c:v>
                </c:pt>
                <c:pt idx="4">
                  <c:v>Isdin</c:v>
                </c:pt>
              </c:strCache>
            </c:strRef>
          </c:cat>
          <c:val>
            <c:numRef>
              <c:f>Sheet1!$B$2:$B$6</c:f>
              <c:numCache>
                <c:formatCode>General</c:formatCode>
                <c:ptCount val="5"/>
                <c:pt idx="4">
                  <c:v>611.5140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Others Marca Unif.</c:v>
                </c:pt>
                <c:pt idx="3">
                  <c:v>Loreal Paris</c:v>
                </c:pt>
                <c:pt idx="4">
                  <c:v>Isdin</c:v>
                </c:pt>
              </c:strCache>
            </c:strRef>
          </c:cat>
          <c:val>
            <c:numRef>
              <c:f>Sheet1!$C$2:$C$6</c:f>
              <c:numCache>
                <c:formatCode>General</c:formatCode>
                <c:ptCount val="5"/>
                <c:pt idx="2">
                  <c:v>672.8541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Others Marca Unif.</c:v>
                </c:pt>
                <c:pt idx="3">
                  <c:v>Loreal Paris</c:v>
                </c:pt>
                <c:pt idx="4">
                  <c:v>Isdin</c:v>
                </c:pt>
              </c:strCache>
            </c:strRef>
          </c:cat>
          <c:val>
            <c:numRef>
              <c:f>Sheet1!$D$2:$D$6</c:f>
              <c:numCache>
                <c:formatCode>General</c:formatCode>
                <c:ptCount val="5"/>
                <c:pt idx="0">
                  <c:v>173.0927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Others Marca Unif.</c:v>
                </c:pt>
                <c:pt idx="3">
                  <c:v>Loreal Paris</c:v>
                </c:pt>
                <c:pt idx="4">
                  <c:v>Isdin</c:v>
                </c:pt>
              </c:strCache>
            </c:strRef>
          </c:cat>
          <c:val>
            <c:numRef>
              <c:f>Sheet1!$E$2:$E$6</c:f>
              <c:numCache>
                <c:formatCode>General</c:formatCode>
                <c:ptCount val="5"/>
                <c:pt idx="1">
                  <c:v>272.914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Others Marca Unif.</c:v>
                </c:pt>
                <c:pt idx="3">
                  <c:v>Loreal Paris</c:v>
                </c:pt>
                <c:pt idx="4">
                  <c:v>Isdin</c:v>
                </c:pt>
              </c:strCache>
            </c:strRef>
          </c:cat>
          <c:val>
            <c:numRef>
              <c:f>Sheet1!$F$2:$F$6</c:f>
              <c:numCache>
                <c:formatCode>General</c:formatCode>
                <c:ptCount val="5"/>
                <c:pt idx="0">
                  <c:v>278.27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Others Marca Unif.</c:v>
                </c:pt>
                <c:pt idx="3">
                  <c:v>Loreal Paris</c:v>
                </c:pt>
                <c:pt idx="4">
                  <c:v>Isdin</c:v>
                </c:pt>
              </c:strCache>
            </c:strRef>
          </c:cat>
          <c:val>
            <c:numRef>
              <c:f>Sheet1!$G$2:$G$6</c:f>
              <c:numCache>
                <c:formatCode>General</c:formatCode>
                <c:ptCount val="5"/>
                <c:pt idx="1">
                  <c:v>284.360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Others Marca Unif.</c:v>
                </c:pt>
                <c:pt idx="3">
                  <c:v>Loreal Paris</c:v>
                </c:pt>
                <c:pt idx="4">
                  <c:v>Isdin</c:v>
                </c:pt>
              </c:strCache>
            </c:strRef>
          </c:cat>
          <c:val>
            <c:numRef>
              <c:f>Sheet1!$H$2:$H$6</c:f>
              <c:numCache>
                <c:formatCode>General</c:formatCode>
                <c:ptCount val="5"/>
                <c:pt idx="1">
                  <c:v>264.956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ivea</c:v>
                </c:pt>
                <c:pt idx="1">
                  <c:v>Hawaiian Tropic</c:v>
                </c:pt>
                <c:pt idx="2">
                  <c:v>Others Marca Unif.</c:v>
                </c:pt>
                <c:pt idx="3">
                  <c:v>Loreal Paris</c:v>
                </c:pt>
                <c:pt idx="4">
                  <c:v>Isdin</c:v>
                </c:pt>
              </c:strCache>
            </c:strRef>
          </c:cat>
          <c:val>
            <c:numRef>
              <c:f>Sheet1!$I$2:$I$6</c:f>
              <c:numCache>
                <c:formatCode>General</c:formatCode>
                <c:ptCount val="5"/>
                <c:pt idx="3">
                  <c:v>243.030499999999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ivea</c:v>
                </c:pt>
                <c:pt idx="1">
                  <c:v>Hawaiian Tropic</c:v>
                </c:pt>
                <c:pt idx="2">
                  <c:v>Others Marca Unif.</c:v>
                </c:pt>
                <c:pt idx="3">
                  <c:v>Loreal Paris</c:v>
                </c:pt>
                <c:pt idx="4">
                  <c:v>Isdin</c:v>
                </c:pt>
              </c:strCache>
            </c:strRef>
          </c:cat>
          <c:val>
            <c:numRef>
              <c:f>Sheet1!$J$2:$J$6</c:f>
              <c:numCache>
                <c:formatCode>General</c:formatCode>
                <c:ptCount val="5"/>
                <c:pt idx="2">
                  <c:v>1032.230399999999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Mustela</c:v>
                </c:pt>
              </c:strCache>
            </c:strRef>
          </c:cat>
          <c:val>
            <c:numRef>
              <c:f>Sheet1!$B$2:$B$3</c:f>
              <c:numCache>
                <c:formatCode>General</c:formatCode>
                <c:ptCount val="2"/>
                <c:pt idx="1">
                  <c:v>435.8806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Mustela</c:v>
                </c:pt>
              </c:strCache>
            </c:strRef>
          </c:cat>
          <c:val>
            <c:numRef>
              <c:f>Sheet1!$C$2:$C$3</c:f>
              <c:numCache>
                <c:formatCode>General</c:formatCode>
                <c:ptCount val="2"/>
                <c:pt idx="0">
                  <c:v>301.151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cat>
            <c:strRef>
              <c:f>Sheet1!$A$2:$A$3</c:f>
              <c:strCache>
                <c:ptCount val="2"/>
                <c:pt idx="0">
                  <c:v>Others Marca Unif.</c:v>
                </c:pt>
                <c:pt idx="1">
                  <c:v>Mustela</c:v>
                </c:pt>
              </c:strCache>
            </c:strRef>
          </c:cat>
          <c:val>
            <c:numRef>
              <c:f>Sheet1!$D$2:$D$3</c:f>
              <c:numCache>
                <c:formatCode>General</c:formatCode>
                <c:ptCount val="2"/>
                <c:pt idx="1">
                  <c:v>404.6086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00ML</c:v>
                </c:pt>
              </c:strCache>
            </c:strRef>
          </c:tx>
          <c:spPr>
            <a:ln w="19050">
              <a:noFill/>
            </a:ln>
          </c:spPr>
          <c:marker>
            <c:symbol val="dash"/>
            <c:size val="20"/>
            <c:spPr>
              <a:solidFill>
                <a:srgbClr val="FFE5E5"/>
              </a:solidFill>
              <a:ln w="9525">
                <a:noFill/>
              </a:ln>
              <a:effectLst/>
            </c:spPr>
          </c:marker>
          <c:cat>
            <c:strRef>
              <c:f>Sheet1!$A$2:$A$2</c:f>
              <c:strCache>
                <c:ptCount val="1"/>
                <c:pt idx="0">
                  <c:v>Photoderm</c:v>
                </c:pt>
              </c:strCache>
            </c:strRef>
          </c:cat>
          <c:val>
            <c:numRef>
              <c:f>Sheet1!$B$2:$B$2</c:f>
              <c:numCache>
                <c:formatCode>General</c:formatCode>
                <c:ptCount val="1"/>
                <c:pt idx="0">
                  <c:v>724.52380000000005</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Isdin</c:v>
                </c:pt>
                <c:pt idx="1">
                  <c:v>La Roche-Posay</c:v>
                </c:pt>
                <c:pt idx="2">
                  <c:v>Nivea</c:v>
                </c:pt>
                <c:pt idx="3">
                  <c:v>Neutrogena</c:v>
                </c:pt>
                <c:pt idx="4">
                  <c:v>Others Marca Unif.</c:v>
                </c:pt>
                <c:pt idx="5">
                  <c:v>Heliocare</c:v>
                </c:pt>
                <c:pt idx="6">
                  <c:v>Photoderm</c:v>
                </c:pt>
                <c:pt idx="7">
                  <c:v>Vichy</c:v>
                </c:pt>
              </c:strCache>
            </c:strRef>
          </c:cat>
          <c:val>
            <c:numRef>
              <c:f>Sheet1!$B$2:$B$9</c:f>
              <c:numCache>
                <c:formatCode>General</c:formatCode>
                <c:ptCount val="8"/>
                <c:pt idx="2">
                  <c:v>331.98680000000002</c:v>
                </c:pt>
                <c:pt idx="3">
                  <c:v>300.59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Isdin</c:v>
                </c:pt>
                <c:pt idx="1">
                  <c:v>La Roche-Posay</c:v>
                </c:pt>
                <c:pt idx="2">
                  <c:v>Nivea</c:v>
                </c:pt>
                <c:pt idx="3">
                  <c:v>Neutrogena</c:v>
                </c:pt>
                <c:pt idx="4">
                  <c:v>Others Marca Unif.</c:v>
                </c:pt>
                <c:pt idx="5">
                  <c:v>Heliocare</c:v>
                </c:pt>
                <c:pt idx="6">
                  <c:v>Photoderm</c:v>
                </c:pt>
                <c:pt idx="7">
                  <c:v>Vichy</c:v>
                </c:pt>
              </c:strCache>
            </c:strRef>
          </c:cat>
          <c:val>
            <c:numRef>
              <c:f>Sheet1!$C$2:$C$9</c:f>
              <c:numCache>
                <c:formatCode>General</c:formatCode>
                <c:ptCount val="8"/>
                <c:pt idx="7">
                  <c:v>904.658699999999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Isdin</c:v>
                </c:pt>
                <c:pt idx="1">
                  <c:v>La Roche-Posay</c:v>
                </c:pt>
                <c:pt idx="2">
                  <c:v>Nivea</c:v>
                </c:pt>
                <c:pt idx="3">
                  <c:v>Neutrogena</c:v>
                </c:pt>
                <c:pt idx="4">
                  <c:v>Others Marca Unif.</c:v>
                </c:pt>
                <c:pt idx="5">
                  <c:v>Heliocare</c:v>
                </c:pt>
                <c:pt idx="6">
                  <c:v>Photoderm</c:v>
                </c:pt>
                <c:pt idx="7">
                  <c:v>Vichy</c:v>
                </c:pt>
              </c:strCache>
            </c:strRef>
          </c:cat>
          <c:val>
            <c:numRef>
              <c:f>Sheet1!$D$2:$D$9</c:f>
              <c:numCache>
                <c:formatCode>General</c:formatCode>
                <c:ptCount val="8"/>
                <c:pt idx="2">
                  <c:v>294.61</c:v>
                </c:pt>
                <c:pt idx="3">
                  <c:v>345.6995</c:v>
                </c:pt>
                <c:pt idx="4">
                  <c:v>547.41809999999998</c:v>
                </c:pt>
                <c:pt idx="6">
                  <c:v>741.02650000000006</c:v>
                </c:pt>
                <c:pt idx="7">
                  <c:v>672.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Isdin</c:v>
                </c:pt>
                <c:pt idx="1">
                  <c:v>La Roche-Posay</c:v>
                </c:pt>
                <c:pt idx="2">
                  <c:v>Nivea</c:v>
                </c:pt>
                <c:pt idx="3">
                  <c:v>Neutrogena</c:v>
                </c:pt>
                <c:pt idx="4">
                  <c:v>Others Marca Unif.</c:v>
                </c:pt>
                <c:pt idx="5">
                  <c:v>Heliocare</c:v>
                </c:pt>
                <c:pt idx="6">
                  <c:v>Photoderm</c:v>
                </c:pt>
                <c:pt idx="7">
                  <c:v>Vichy</c:v>
                </c:pt>
              </c:strCache>
            </c:strRef>
          </c:cat>
          <c:val>
            <c:numRef>
              <c:f>Sheet1!$E$2:$E$9</c:f>
              <c:numCache>
                <c:formatCode>General</c:formatCode>
                <c:ptCount val="8"/>
                <c:pt idx="0">
                  <c:v>626.56700000000001</c:v>
                </c:pt>
                <c:pt idx="1">
                  <c:v>673.21190000000001</c:v>
                </c:pt>
                <c:pt idx="2">
                  <c:v>300.22039999999998</c:v>
                </c:pt>
                <c:pt idx="5">
                  <c:v>627.5510000000000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hotoderm</c:v>
                </c:pt>
                <c:pt idx="1">
                  <c:v>Nivea</c:v>
                </c:pt>
              </c:strCache>
            </c:strRef>
          </c:cat>
          <c:val>
            <c:numRef>
              <c:f>Sheet1!$B$2:$B$3</c:f>
              <c:numCache>
                <c:formatCode>General</c:formatCode>
                <c:ptCount val="2"/>
                <c:pt idx="0">
                  <c:v>703.947</c:v>
                </c:pt>
                <c:pt idx="1">
                  <c:v>313.48149999999998</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Photoderm</c:v>
                </c:pt>
                <c:pt idx="1">
                  <c:v>Others Marca Unif.</c:v>
                </c:pt>
              </c:strCache>
            </c:strRef>
          </c:cat>
          <c:val>
            <c:numRef>
              <c:f>Sheet1!$B$2:$B$3</c:f>
              <c:numCache>
                <c:formatCode>General</c:formatCode>
                <c:ptCount val="2"/>
                <c:pt idx="0">
                  <c:v>786.296500000000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6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Photoderm</c:v>
                </c:pt>
                <c:pt idx="1">
                  <c:v>Others Marca Unif.</c:v>
                </c:pt>
              </c:strCache>
            </c:strRef>
          </c:cat>
          <c:val>
            <c:numRef>
              <c:f>Sheet1!$C$2:$C$3</c:f>
              <c:numCache>
                <c:formatCode>General</c:formatCode>
                <c:ptCount val="2"/>
                <c:pt idx="1">
                  <c:v>615.3292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Others Marca Unif.</c:v>
                </c:pt>
                <c:pt idx="3">
                  <c:v>Isdin</c:v>
                </c:pt>
                <c:pt idx="4">
                  <c:v>La Roche-Posay</c:v>
                </c:pt>
                <c:pt idx="5">
                  <c:v>Loreal Paris</c:v>
                </c:pt>
              </c:strCache>
            </c:strRef>
          </c:cat>
          <c:val>
            <c:numRef>
              <c:f>Sheet1!$B$2:$B$7</c:f>
              <c:numCache>
                <c:formatCode>General</c:formatCode>
                <c:ptCount val="6"/>
                <c:pt idx="3">
                  <c:v>625.1367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Others Marca Unif.</c:v>
                </c:pt>
                <c:pt idx="3">
                  <c:v>Isdin</c:v>
                </c:pt>
                <c:pt idx="4">
                  <c:v>La Roche-Posay</c:v>
                </c:pt>
                <c:pt idx="5">
                  <c:v>Loreal Paris</c:v>
                </c:pt>
              </c:strCache>
            </c:strRef>
          </c:cat>
          <c:val>
            <c:numRef>
              <c:f>Sheet1!$C$2:$C$7</c:f>
              <c:numCache>
                <c:formatCode>General</c:formatCode>
                <c:ptCount val="6"/>
                <c:pt idx="2">
                  <c:v>678.8953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Others Marca Unif.</c:v>
                </c:pt>
                <c:pt idx="3">
                  <c:v>Isdin</c:v>
                </c:pt>
                <c:pt idx="4">
                  <c:v>La Roche-Posay</c:v>
                </c:pt>
                <c:pt idx="5">
                  <c:v>Loreal Paris</c:v>
                </c:pt>
              </c:strCache>
            </c:strRef>
          </c:cat>
          <c:val>
            <c:numRef>
              <c:f>Sheet1!$D$2:$D$7</c:f>
              <c:numCache>
                <c:formatCode>General</c:formatCode>
                <c:ptCount val="6"/>
                <c:pt idx="0">
                  <c:v>170.6684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Others Marca Unif.</c:v>
                </c:pt>
                <c:pt idx="3">
                  <c:v>Isdin</c:v>
                </c:pt>
                <c:pt idx="4">
                  <c:v>La Roche-Posay</c:v>
                </c:pt>
                <c:pt idx="5">
                  <c:v>Loreal Paris</c:v>
                </c:pt>
              </c:strCache>
            </c:strRef>
          </c:cat>
          <c:val>
            <c:numRef>
              <c:f>Sheet1!$E$2:$E$7</c:f>
              <c:numCache>
                <c:formatCode>General</c:formatCode>
                <c:ptCount val="6"/>
                <c:pt idx="1">
                  <c:v>296.990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Others Marca Unif.</c:v>
                </c:pt>
                <c:pt idx="3">
                  <c:v>Isdin</c:v>
                </c:pt>
                <c:pt idx="4">
                  <c:v>La Roche-Posay</c:v>
                </c:pt>
                <c:pt idx="5">
                  <c:v>Loreal Paris</c:v>
                </c:pt>
              </c:strCache>
            </c:strRef>
          </c:cat>
          <c:val>
            <c:numRef>
              <c:f>Sheet1!$F$2:$F$7</c:f>
              <c:numCache>
                <c:formatCode>General</c:formatCode>
                <c:ptCount val="6"/>
                <c:pt idx="0">
                  <c:v>337.221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Others Marca Unif.</c:v>
                </c:pt>
                <c:pt idx="3">
                  <c:v>Isdin</c:v>
                </c:pt>
                <c:pt idx="4">
                  <c:v>La Roche-Posay</c:v>
                </c:pt>
                <c:pt idx="5">
                  <c:v>Loreal Paris</c:v>
                </c:pt>
              </c:strCache>
            </c:strRef>
          </c:cat>
          <c:val>
            <c:numRef>
              <c:f>Sheet1!$G$2:$G$7</c:f>
              <c:numCache>
                <c:formatCode>General</c:formatCode>
                <c:ptCount val="6"/>
                <c:pt idx="1">
                  <c:v>303.9671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Others Marca Unif.</c:v>
                </c:pt>
                <c:pt idx="3">
                  <c:v>Isdin</c:v>
                </c:pt>
                <c:pt idx="4">
                  <c:v>La Roche-Posay</c:v>
                </c:pt>
                <c:pt idx="5">
                  <c:v>Loreal Paris</c:v>
                </c:pt>
              </c:strCache>
            </c:strRef>
          </c:cat>
          <c:val>
            <c:numRef>
              <c:f>Sheet1!$H$2:$H$7</c:f>
              <c:numCache>
                <c:formatCode>General</c:formatCode>
                <c:ptCount val="6"/>
                <c:pt idx="1">
                  <c:v>291.263100000000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Others Marca Unif.</c:v>
                </c:pt>
                <c:pt idx="3">
                  <c:v>Isdin</c:v>
                </c:pt>
                <c:pt idx="4">
                  <c:v>La Roche-Posay</c:v>
                </c:pt>
                <c:pt idx="5">
                  <c:v>Loreal Paris</c:v>
                </c:pt>
              </c:strCache>
            </c:strRef>
          </c:cat>
          <c:val>
            <c:numRef>
              <c:f>Sheet1!$I$2:$I$7</c:f>
              <c:numCache>
                <c:formatCode>General</c:formatCode>
                <c:ptCount val="6"/>
                <c:pt idx="4">
                  <c:v>1301.047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Others Marca Unif.</c:v>
                </c:pt>
                <c:pt idx="3">
                  <c:v>Isdin</c:v>
                </c:pt>
                <c:pt idx="4">
                  <c:v>La Roche-Posay</c:v>
                </c:pt>
                <c:pt idx="5">
                  <c:v>Loreal Paris</c:v>
                </c:pt>
              </c:strCache>
            </c:strRef>
          </c:cat>
          <c:val>
            <c:numRef>
              <c:f>Sheet1!$J$2:$J$7</c:f>
              <c:numCache>
                <c:formatCode>General</c:formatCode>
                <c:ptCount val="6"/>
                <c:pt idx="5">
                  <c:v>231.506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Others Marca Unif.</c:v>
                </c:pt>
                <c:pt idx="3">
                  <c:v>Isdin</c:v>
                </c:pt>
                <c:pt idx="4">
                  <c:v>La Roche-Posay</c:v>
                </c:pt>
                <c:pt idx="5">
                  <c:v>Loreal Paris</c:v>
                </c:pt>
              </c:strCache>
            </c:strRef>
          </c:cat>
          <c:val>
            <c:numRef>
              <c:f>Sheet1!$K$2:$K$7</c:f>
              <c:numCache>
                <c:formatCode>General</c:formatCode>
                <c:ptCount val="6"/>
                <c:pt idx="2">
                  <c:v>1096.4069999999999</c:v>
                </c:pt>
                <c:pt idx="3">
                  <c:v>665.49570000000006</c:v>
                </c:pt>
                <c:pt idx="4">
                  <c:v>709.81359999999995</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Mustela</c:v>
                </c:pt>
              </c:strCache>
            </c:strRef>
          </c:cat>
          <c:val>
            <c:numRef>
              <c:f>Sheet1!$B$2:$B$3</c:f>
              <c:numCache>
                <c:formatCode>General</c:formatCode>
                <c:ptCount val="2"/>
                <c:pt idx="0">
                  <c:v>213.4111</c:v>
                </c:pt>
                <c:pt idx="1">
                  <c:v>389.0948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Mustela</c:v>
                </c:pt>
              </c:strCache>
            </c:strRef>
          </c:cat>
          <c:val>
            <c:numRef>
              <c:f>Sheet1!$C$2:$C$3</c:f>
              <c:numCache>
                <c:formatCode>General</c:formatCode>
                <c:ptCount val="2"/>
                <c:pt idx="0">
                  <c:v>299.383500000000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cat>
            <c:strRef>
              <c:f>Sheet1!$A$2:$A$3</c:f>
              <c:strCache>
                <c:ptCount val="2"/>
                <c:pt idx="0">
                  <c:v>Others Marca Unif.</c:v>
                </c:pt>
                <c:pt idx="1">
                  <c:v>Mustela</c:v>
                </c:pt>
              </c:strCache>
            </c:strRef>
          </c:cat>
          <c:val>
            <c:numRef>
              <c:f>Sheet1!$D$2:$D$3</c:f>
              <c:numCache>
                <c:formatCode>General</c:formatCode>
                <c:ptCount val="2"/>
                <c:pt idx="1">
                  <c:v>420.81700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Others Marca Unif.</c:v>
                </c:pt>
                <c:pt idx="1">
                  <c:v>Nivea</c:v>
                </c:pt>
                <c:pt idx="2">
                  <c:v>Nuvel</c:v>
                </c:pt>
                <c:pt idx="3">
                  <c:v>Total Care De Mexico: All Others</c:v>
                </c:pt>
              </c:strCache>
            </c:strRef>
          </c:cat>
          <c:val>
            <c:numRef>
              <c:f>Sheet1!$B$2:$B$6</c:f>
              <c:numCache>
                <c:formatCode>General</c:formatCode>
                <c:ptCount val="5"/>
                <c:pt idx="0">
                  <c:v>101.95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Others Marca Unif.</c:v>
                </c:pt>
                <c:pt idx="1">
                  <c:v>Nivea</c:v>
                </c:pt>
                <c:pt idx="2">
                  <c:v>Nuvel</c:v>
                </c:pt>
                <c:pt idx="3">
                  <c:v>Total Care De Mexico: All Others</c:v>
                </c:pt>
              </c:strCache>
            </c:strRef>
          </c:cat>
          <c:val>
            <c:numRef>
              <c:f>Sheet1!$C$2:$C$6</c:f>
              <c:numCache>
                <c:formatCode>General</c:formatCode>
                <c:ptCount val="5"/>
                <c:pt idx="2">
                  <c:v>96.8773000000000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Others Marca Unif.</c:v>
                </c:pt>
                <c:pt idx="1">
                  <c:v>Nivea</c:v>
                </c:pt>
                <c:pt idx="2">
                  <c:v>Nuvel</c:v>
                </c:pt>
                <c:pt idx="3">
                  <c:v>Total Care De Mexico: All Others</c:v>
                </c:pt>
              </c:strCache>
            </c:strRef>
          </c:cat>
          <c:val>
            <c:numRef>
              <c:f>Sheet1!$D$2:$D$6</c:f>
              <c:numCache>
                <c:formatCode>General</c:formatCode>
                <c:ptCount val="5"/>
                <c:pt idx="0">
                  <c:v>135.8572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Others Marca Unif.</c:v>
                </c:pt>
                <c:pt idx="1">
                  <c:v>Nivea</c:v>
                </c:pt>
                <c:pt idx="2">
                  <c:v>Nuvel</c:v>
                </c:pt>
                <c:pt idx="3">
                  <c:v>Total Care De Mexico: All Others</c:v>
                </c:pt>
              </c:strCache>
            </c:strRef>
          </c:cat>
          <c:val>
            <c:numRef>
              <c:f>Sheet1!$E$2:$E$8</c:f>
              <c:numCache>
                <c:formatCode>General</c:formatCode>
                <c:ptCount val="7"/>
                <c:pt idx="3">
                  <c:v>57.917099999999998</c:v>
                </c:pt>
                <c:pt idx="4">
                  <c:v>57.917099999999998</c:v>
                </c:pt>
                <c:pt idx="5">
                  <c:v>57.917099999999998</c:v>
                </c:pt>
                <c:pt idx="6">
                  <c:v>57.9170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Others Marca Unif.</c:v>
                </c:pt>
                <c:pt idx="1">
                  <c:v>Nivea</c:v>
                </c:pt>
                <c:pt idx="2">
                  <c:v>Nuvel</c:v>
                </c:pt>
                <c:pt idx="3">
                  <c:v>Total Care De Mexico: All Others</c:v>
                </c:pt>
              </c:strCache>
            </c:strRef>
          </c:cat>
          <c:val>
            <c:numRef>
              <c:f>Sheet1!$F$2:$F$6</c:f>
              <c:numCache>
                <c:formatCode>General</c:formatCode>
                <c:ptCount val="5"/>
                <c:pt idx="1">
                  <c:v>268.1702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Others Marca Unif.</c:v>
                </c:pt>
                <c:pt idx="1">
                  <c:v>Nivea</c:v>
                </c:pt>
                <c:pt idx="2">
                  <c:v>Nuvel</c:v>
                </c:pt>
                <c:pt idx="3">
                  <c:v>Total Care De Mexico: All Others</c:v>
                </c:pt>
              </c:strCache>
            </c:strRef>
          </c:cat>
          <c:val>
            <c:numRef>
              <c:f>Sheet1!$G$2:$G$6</c:f>
              <c:numCache>
                <c:formatCode>General</c:formatCode>
                <c:ptCount val="5"/>
                <c:pt idx="0">
                  <c:v>93.1024000000000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Others Marca Unif.</c:v>
                </c:pt>
                <c:pt idx="1">
                  <c:v>Nivea</c:v>
                </c:pt>
                <c:pt idx="2">
                  <c:v>Nuvel</c:v>
                </c:pt>
                <c:pt idx="3">
                  <c:v>Total Care De Mexico: All Others</c:v>
                </c:pt>
              </c:strCache>
            </c:strRef>
          </c:cat>
          <c:val>
            <c:numRef>
              <c:f>Sheet1!$H$2:$H$6</c:f>
              <c:numCache>
                <c:formatCode>General</c:formatCode>
                <c:ptCount val="5"/>
                <c:pt idx="0">
                  <c:v>97.3934</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78FB03-4090-4173-965C-340875BD4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155273-AEAF-4EF4-AE96-780D19852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9F6F99-82FD-427F-B8FF-841C69EF2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77E777-7921-4C56-B2DC-ED4BC27E3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F11E8C-6179-4C84-B3F4-5AE47CC89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2F56EFA-7D8A-447A-9342-A0C03FFBD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DFC16AC-C253-47A0-9EE2-C0EF292C9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84B15FE-E9AA-4798-AF9E-9B293DCE1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6.6892</c:v>
                </c:pt>
                <c:pt idx="1">
                  <c:v>451.89089999999999</c:v>
                </c:pt>
                <c:pt idx="2">
                  <c:v>209.54249999999999</c:v>
                </c:pt>
                <c:pt idx="3">
                  <c:v>80.124899999999997</c:v>
                </c:pt>
                <c:pt idx="4">
                  <c:v>96.877300000000005</c:v>
                </c:pt>
                <c:pt idx="5">
                  <c:v>173.3228</c:v>
                </c:pt>
                <c:pt idx="6">
                  <c:v>291.05380000000002</c:v>
                </c:pt>
              </c:numCache>
            </c:numRef>
          </c:xVal>
          <c:yVal>
            <c:numRef>
              <c:f>Sheet1!$B$2:$B$8</c:f>
              <c:numCache>
                <c:formatCode>General</c:formatCode>
                <c:ptCount val="7"/>
                <c:pt idx="0">
                  <c:v>1.3069999999999999</c:v>
                </c:pt>
                <c:pt idx="1">
                  <c:v>3.5779999999999998</c:v>
                </c:pt>
                <c:pt idx="2">
                  <c:v>0.88200000000000001</c:v>
                </c:pt>
                <c:pt idx="3">
                  <c:v>0.48299999999999998</c:v>
                </c:pt>
                <c:pt idx="4">
                  <c:v>0.60299999999999998</c:v>
                </c:pt>
                <c:pt idx="5">
                  <c:v>0.80300000000000005</c:v>
                </c:pt>
                <c:pt idx="6">
                  <c:v>1.7410000000000001</c:v>
                </c:pt>
              </c:numCache>
            </c:numRef>
          </c:yVal>
          <c:bubbleSize>
            <c:numRef>
              <c:f>Sheet1!$C$2:$C$8</c:f>
              <c:numCache>
                <c:formatCode>General</c:formatCode>
                <c:ptCount val="7"/>
                <c:pt idx="0">
                  <c:v>8663450</c:v>
                </c:pt>
                <c:pt idx="1">
                  <c:v>2920119</c:v>
                </c:pt>
                <c:pt idx="2">
                  <c:v>2109674</c:v>
                </c:pt>
                <c:pt idx="3">
                  <c:v>1209966</c:v>
                </c:pt>
                <c:pt idx="4">
                  <c:v>1076307</c:v>
                </c:pt>
                <c:pt idx="5">
                  <c:v>983087</c:v>
                </c:pt>
                <c:pt idx="6">
                  <c:v>40049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Caribbean Beach</c:v>
                  </c:pt>
                  <c:pt idx="4">
                    <c:v>Nuvel</c:v>
                  </c:pt>
                  <c:pt idx="5">
                    <c:v>Hawaiian Tropic</c:v>
                  </c:pt>
                  <c:pt idx="6">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B$2:$B$10</c:f>
              <c:numCache>
                <c:formatCode>General</c:formatCode>
                <c:ptCount val="9"/>
                <c:pt idx="1">
                  <c:v>224.51769999999999</c:v>
                </c:pt>
                <c:pt idx="2">
                  <c:v>180.8262</c:v>
                </c:pt>
                <c:pt idx="5">
                  <c:v>74.3605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C$2:$C$10</c:f>
              <c:numCache>
                <c:formatCode>General</c:formatCode>
                <c:ptCount val="9"/>
                <c:pt idx="0">
                  <c:v>259.68669999999997</c:v>
                </c:pt>
                <c:pt idx="1">
                  <c:v>304.42950000000002</c:v>
                </c:pt>
                <c:pt idx="4">
                  <c:v>104.7420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D$2:$D$10</c:f>
              <c:numCache>
                <c:formatCode>General</c:formatCode>
                <c:ptCount val="9"/>
                <c:pt idx="2">
                  <c:v>261.2443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E$2:$E$10</c:f>
              <c:numCache>
                <c:formatCode>General</c:formatCode>
                <c:ptCount val="9"/>
                <c:pt idx="0">
                  <c:v>247.34119999999999</c:v>
                </c:pt>
                <c:pt idx="1">
                  <c:v>306.64359999999999</c:v>
                </c:pt>
                <c:pt idx="6">
                  <c:v>185.826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F$2:$F$10</c:f>
              <c:numCache>
                <c:formatCode>General</c:formatCode>
                <c:ptCount val="9"/>
                <c:pt idx="0">
                  <c:v>231.72989999999999</c:v>
                </c:pt>
                <c:pt idx="3">
                  <c:v>583.70219999999995</c:v>
                </c:pt>
                <c:pt idx="7">
                  <c:v>589.98040000000003</c:v>
                </c:pt>
                <c:pt idx="8">
                  <c:v>608.75469999999996</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Photoderm</c:v>
                </c:pt>
              </c:strCache>
            </c:strRef>
          </c:cat>
          <c:val>
            <c:numRef>
              <c:f>Sheet1!$B$2:$B$3</c:f>
              <c:numCache>
                <c:formatCode>General</c:formatCode>
                <c:ptCount val="2"/>
                <c:pt idx="0">
                  <c:v>243.3535</c:v>
                </c:pt>
                <c:pt idx="1">
                  <c:v>369.1292000000000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Loreal Paris</c:v>
                </c:pt>
              </c:strCache>
            </c:strRef>
          </c:cat>
          <c:val>
            <c:numRef>
              <c:f>Sheet1!$B$2:$B$4</c:f>
              <c:numCache>
                <c:formatCode>General</c:formatCode>
                <c:ptCount val="3"/>
                <c:pt idx="0">
                  <c:v>175.09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Loreal Paris</c:v>
                </c:pt>
              </c:strCache>
            </c:strRef>
          </c:cat>
          <c:val>
            <c:numRef>
              <c:f>Sheet1!$C$2:$C$4</c:f>
              <c:numCache>
                <c:formatCode>General</c:formatCode>
                <c:ptCount val="3"/>
                <c:pt idx="0">
                  <c:v>264.3867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Loreal Paris</c:v>
                </c:pt>
              </c:strCache>
            </c:strRef>
          </c:cat>
          <c:val>
            <c:numRef>
              <c:f>Sheet1!$D$2:$D$4</c:f>
              <c:numCache>
                <c:formatCode>General</c:formatCode>
                <c:ptCount val="3"/>
                <c:pt idx="1">
                  <c:v>255.55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Loreal Paris</c:v>
                </c:pt>
              </c:strCache>
            </c:strRef>
          </c:cat>
          <c:val>
            <c:numRef>
              <c:f>Sheet1!$E$2:$E$4</c:f>
              <c:numCache>
                <c:formatCode>General</c:formatCode>
                <c:ptCount val="3"/>
                <c:pt idx="2">
                  <c:v>247.2052999999999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89ML</c:v>
                </c:pt>
              </c:strCache>
            </c:strRef>
          </c:tx>
          <c:spPr>
            <a:ln w="19050">
              <a:noFill/>
            </a:ln>
          </c:spPr>
          <c:marker>
            <c:symbol val="dash"/>
            <c:size val="20"/>
            <c:spPr>
              <a:solidFill>
                <a:srgbClr val="FFE5E5"/>
              </a:solidFill>
              <a:ln w="9525">
                <a:noFill/>
              </a:ln>
              <a:effectLst/>
            </c:spPr>
          </c:marker>
          <c:cat>
            <c:strRef>
              <c:f>Sheet1!$A$2:$A$2</c:f>
              <c:strCache>
                <c:ptCount val="1"/>
                <c:pt idx="0">
                  <c:v>Sun &amp; Skin Care Research: All Others</c:v>
                </c:pt>
              </c:strCache>
            </c:strRef>
          </c:cat>
          <c:val>
            <c:numRef>
              <c:f>Sheet1!$B$2:$B$2</c:f>
              <c:numCache>
                <c:formatCode>General</c:formatCode>
                <c:ptCount val="1"/>
                <c:pt idx="0">
                  <c:v>169.7077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cat>
            <c:strRef>
              <c:f>Sheet1!$A$2:$A$2</c:f>
              <c:strCache>
                <c:ptCount val="1"/>
                <c:pt idx="0">
                  <c:v>Photoderm</c:v>
                </c:pt>
              </c:strCache>
            </c:strRef>
          </c:cat>
          <c:val>
            <c:numRef>
              <c:f>Sheet1!$B$2:$B$2</c:f>
              <c:numCache>
                <c:formatCode>General</c:formatCode>
                <c:ptCount val="1"/>
                <c:pt idx="0">
                  <c:v>809.6861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Photoderm</c:v>
                </c:pt>
              </c:strCache>
            </c:strRef>
          </c:cat>
          <c:val>
            <c:numRef>
              <c:f>Sheet1!$C$2:$C$2</c:f>
              <c:numCache>
                <c:formatCode>General</c:formatCode>
                <c:ptCount val="1"/>
                <c:pt idx="0">
                  <c:v>666.2386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86.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87.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88.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89.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90.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91.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92.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93.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94.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62.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63.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64.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6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66.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67.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68.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69.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7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71.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72.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73.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74.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7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76.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77.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78.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79.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8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81.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82.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83.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84.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8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859169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17340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36219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4162862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9855625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1371582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0066908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0805739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0093487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7870979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9896234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3149577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39678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369322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064714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55086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166235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Emuls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391364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257407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559019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845309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61668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23354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684768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79334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515825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17209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290640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30949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804228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30471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Canal Modern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618398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55694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27676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846331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75664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489362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77228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6956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719830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84132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24820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762665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647703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98010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363799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576235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902037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565327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2465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58334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88321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91381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Convenience + Farmacias Cad + Hard Discounte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829536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914314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965657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989565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21850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19237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883268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34449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63320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69483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309520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081507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68226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752836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871467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90626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911724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64494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268166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343712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077892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017204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Canal Tradic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640252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891969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5428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379712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930377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20289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56968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44271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49447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404105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165073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5620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12517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245977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39783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411179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06181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32357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578589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34672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430075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64301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789978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319781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043929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496576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57879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79487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19786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672851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685199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210535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86363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032211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19609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8300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38297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646560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931659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9349272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753334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106935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492872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801040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73960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70147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69006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8351958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13091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457376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39.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5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829946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9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7.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6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66.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196778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9.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98.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5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7.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6.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328832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8.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6.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575338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8689278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4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5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8.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4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0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0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iquido (2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0.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8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7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Fluido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0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79.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4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7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7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ocion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7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2166511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00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5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4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2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6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0.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7.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Emuls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776093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4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0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iquido (2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2.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6.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9.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8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0.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0.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99.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Fluido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2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2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1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9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ocion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0.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7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7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9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582533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79520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53839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tick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8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9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9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7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9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0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7.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4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9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148866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5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7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8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9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Fluido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1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3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7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4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3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1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17.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4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8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Liquido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9.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78.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8.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Aceite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8.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8.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8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tick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7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2226854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Locio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0.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9.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7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Crema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2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5.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2821762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6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9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7.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6.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8.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iquido (2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4.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Locio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2.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Fluido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1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4397170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rema (4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9.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48.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Liquido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9.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7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6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1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Locion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9.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5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4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1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Aceit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8.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196032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4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5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0.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67.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6.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erum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7.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Gel-Crema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67046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7087447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1778030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9069842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775987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130436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229880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0536288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3143235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3928763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9672216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3359983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1486003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5649596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0222206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940480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177090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366396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1381951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3563742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2783177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1371265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5998357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558306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6308706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Loc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420353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Spra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1434414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7669370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267929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8</TotalTime>
  <Words>10054</Words>
  <Application>Microsoft Office PowerPoint</Application>
  <PresentationFormat>On-screen Show (16:9)</PresentationFormat>
  <Paragraphs>2677</Paragraphs>
  <Slides>108</Slides>
  <Notes>1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8</vt:i4>
      </vt:variant>
    </vt:vector>
  </HeadingPairs>
  <TitlesOfParts>
    <vt:vector size="11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1</cp:revision>
  <dcterms:created xsi:type="dcterms:W3CDTF">2024-07-05T14:56:51Z</dcterms:created>
  <dcterms:modified xsi:type="dcterms:W3CDTF">2025-07-01T13:2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